
<file path=[Content_Types].xml><?xml version="1.0" encoding="utf-8"?>
<Types xmlns="http://schemas.openxmlformats.org/package/2006/content-types">
  <Default Extension="fntdata" ContentType="application/x-fontdata"/>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p:sldMasterIdLst>
    <p:sldMasterId id="2147483963" r:id="rId4"/>
  </p:sldMasterIdLst>
  <p:notesMasterIdLst>
    <p:notesMasterId r:id="rId15"/>
  </p:notesMasterIdLst>
  <p:sldIdLst>
    <p:sldId id="498" r:id="rId5"/>
    <p:sldId id="4686" r:id="rId6"/>
    <p:sldId id="4692" r:id="rId7"/>
    <p:sldId id="4691" r:id="rId8"/>
    <p:sldId id="4685" r:id="rId9"/>
    <p:sldId id="4684" r:id="rId10"/>
    <p:sldId id="4690" r:id="rId11"/>
    <p:sldId id="4689" r:id="rId12"/>
    <p:sldId id="4663" r:id="rId13"/>
    <p:sldId id="279" r:id="rId14"/>
  </p:sldIdLst>
  <p:sldSz cx="9144000" cy="5143500" type="screen16x9"/>
  <p:notesSz cx="7010400" cy="9296400"/>
  <p:embeddedFontLst>
    <p:embeddedFont>
      <p:font typeface="Calibri" panose="020F0502020204030204" pitchFamily="34" charset="0"/>
      <p:regular r:id="rId16"/>
      <p:bold r:id="rId17"/>
      <p:italic r:id="rId18"/>
      <p:boldItalic r:id="rId19"/>
    </p:embeddedFont>
    <p:embeddedFont>
      <p:font typeface="Calibri Light" panose="020F0302020204030204" pitchFamily="34" charset="0"/>
      <p:regular r:id="rId20"/>
      <p:italic r:id="rId21"/>
    </p:embeddedFont>
    <p:embeddedFont>
      <p:font typeface="Lato Light" panose="020F0502020204030203" pitchFamily="34" charset="0"/>
      <p:regular r:id="rId22"/>
      <p:italic r:id="rId23"/>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1E3D167-F609-4532-A01B-2BDFDD87A4DA}">
          <p14:sldIdLst>
            <p14:sldId id="498"/>
            <p14:sldId id="4686"/>
            <p14:sldId id="4692"/>
            <p14:sldId id="4691"/>
            <p14:sldId id="4685"/>
            <p14:sldId id="4684"/>
            <p14:sldId id="4690"/>
            <p14:sldId id="4689"/>
            <p14:sldId id="4663"/>
            <p14:sldId id="27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516C"/>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E9E868-23A9-4691-AE10-ADB75BDEA608}" v="121" dt="2023-03-10T21:02:44.810"/>
  </p1510:revLst>
</p1510:revInfo>
</file>

<file path=ppt/tableStyles.xml><?xml version="1.0" encoding="utf-8"?>
<a:tblStyleLst xmlns:a="http://schemas.openxmlformats.org/drawingml/2006/main" def="{E30BB2FD-A6B5-4FB4-B7CE-14FE6FCDA0C9}">
  <a:tblStyle styleId="{E30BB2FD-A6B5-4FB4-B7CE-14FE6FCDA0C9}"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52" autoAdjust="0"/>
    <p:restoredTop sz="73352" autoAdjust="0"/>
  </p:normalViewPr>
  <p:slideViewPr>
    <p:cSldViewPr snapToGrid="0">
      <p:cViewPr varScale="1">
        <p:scale>
          <a:sx n="62" d="100"/>
          <a:sy n="62" d="100"/>
        </p:scale>
        <p:origin x="1416" y="60"/>
      </p:cViewPr>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3.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6.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2.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font" Target="fonts/font8.fntdata"/><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7.fntdata"/><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hanie Fisher" userId="4a8d9212-f9a0-4b32-979f-fab227be859c" providerId="ADAL" clId="{EC16653F-0293-42E2-8AB7-A3AA593D08A6}"/>
    <pc:docChg chg="undo custSel modSld">
      <pc:chgData name="Stephanie Fisher" userId="4a8d9212-f9a0-4b32-979f-fab227be859c" providerId="ADAL" clId="{EC16653F-0293-42E2-8AB7-A3AA593D08A6}" dt="2022-10-14T16:13:05.292" v="699" actId="1076"/>
      <pc:docMkLst>
        <pc:docMk/>
      </pc:docMkLst>
      <pc:sldChg chg="modSp mod">
        <pc:chgData name="Stephanie Fisher" userId="4a8d9212-f9a0-4b32-979f-fab227be859c" providerId="ADAL" clId="{EC16653F-0293-42E2-8AB7-A3AA593D08A6}" dt="2022-10-08T15:07:27.660" v="104" actId="1076"/>
        <pc:sldMkLst>
          <pc:docMk/>
          <pc:sldMk cId="0" sldId="263"/>
        </pc:sldMkLst>
        <pc:picChg chg="mod">
          <ac:chgData name="Stephanie Fisher" userId="4a8d9212-f9a0-4b32-979f-fab227be859c" providerId="ADAL" clId="{EC16653F-0293-42E2-8AB7-A3AA593D08A6}" dt="2022-10-08T15:07:27.660" v="104" actId="1076"/>
          <ac:picMkLst>
            <pc:docMk/>
            <pc:sldMk cId="0" sldId="263"/>
            <ac:picMk id="1028" creationId="{AD56A614-498D-4DD9-A87D-34EC4BB8A854}"/>
          </ac:picMkLst>
        </pc:picChg>
      </pc:sldChg>
      <pc:sldChg chg="delSp modSp mod">
        <pc:chgData name="Stephanie Fisher" userId="4a8d9212-f9a0-4b32-979f-fab227be859c" providerId="ADAL" clId="{EC16653F-0293-42E2-8AB7-A3AA593D08A6}" dt="2022-10-14T15:48:25.362" v="525" actId="478"/>
        <pc:sldMkLst>
          <pc:docMk/>
          <pc:sldMk cId="0" sldId="273"/>
        </pc:sldMkLst>
        <pc:spChg chg="mod">
          <ac:chgData name="Stephanie Fisher" userId="4a8d9212-f9a0-4b32-979f-fab227be859c" providerId="ADAL" clId="{EC16653F-0293-42E2-8AB7-A3AA593D08A6}" dt="2022-10-14T15:48:14.289" v="521" actId="14100"/>
          <ac:spMkLst>
            <pc:docMk/>
            <pc:sldMk cId="0" sldId="273"/>
            <ac:spMk id="5" creationId="{E8145619-CAE8-A980-B177-DDF4BA5FEE45}"/>
          </ac:spMkLst>
        </pc:spChg>
        <pc:spChg chg="mod">
          <ac:chgData name="Stephanie Fisher" userId="4a8d9212-f9a0-4b32-979f-fab227be859c" providerId="ADAL" clId="{EC16653F-0293-42E2-8AB7-A3AA593D08A6}" dt="2022-10-14T15:48:19.947" v="524" actId="27636"/>
          <ac:spMkLst>
            <pc:docMk/>
            <pc:sldMk cId="0" sldId="273"/>
            <ac:spMk id="12" creationId="{4FB1C620-3D8C-7870-7461-5D609DC86FA7}"/>
          </ac:spMkLst>
        </pc:spChg>
        <pc:picChg chg="del">
          <ac:chgData name="Stephanie Fisher" userId="4a8d9212-f9a0-4b32-979f-fab227be859c" providerId="ADAL" clId="{EC16653F-0293-42E2-8AB7-A3AA593D08A6}" dt="2022-10-14T15:48:25.362" v="525" actId="478"/>
          <ac:picMkLst>
            <pc:docMk/>
            <pc:sldMk cId="0" sldId="273"/>
            <ac:picMk id="9" creationId="{D304D150-A75C-44DC-9E1E-B5CD86F927B7}"/>
          </ac:picMkLst>
        </pc:picChg>
      </pc:sldChg>
      <pc:sldChg chg="modSp mod">
        <pc:chgData name="Stephanie Fisher" userId="4a8d9212-f9a0-4b32-979f-fab227be859c" providerId="ADAL" clId="{EC16653F-0293-42E2-8AB7-A3AA593D08A6}" dt="2022-10-14T16:09:44.024" v="677" actId="20577"/>
        <pc:sldMkLst>
          <pc:docMk/>
          <pc:sldMk cId="0" sldId="279"/>
        </pc:sldMkLst>
        <pc:spChg chg="mod">
          <ac:chgData name="Stephanie Fisher" userId="4a8d9212-f9a0-4b32-979f-fab227be859c" providerId="ADAL" clId="{EC16653F-0293-42E2-8AB7-A3AA593D08A6}" dt="2022-10-14T16:09:44.024" v="677" actId="20577"/>
          <ac:spMkLst>
            <pc:docMk/>
            <pc:sldMk cId="0" sldId="279"/>
            <ac:spMk id="298" creationId="{00000000-0000-0000-0000-000000000000}"/>
          </ac:spMkLst>
        </pc:spChg>
      </pc:sldChg>
      <pc:sldChg chg="delSp mod">
        <pc:chgData name="Stephanie Fisher" userId="4a8d9212-f9a0-4b32-979f-fab227be859c" providerId="ADAL" clId="{EC16653F-0293-42E2-8AB7-A3AA593D08A6}" dt="2022-10-14T16:11:02.504" v="685" actId="478"/>
        <pc:sldMkLst>
          <pc:docMk/>
          <pc:sldMk cId="1852989823" sldId="286"/>
        </pc:sldMkLst>
        <pc:picChg chg="del">
          <ac:chgData name="Stephanie Fisher" userId="4a8d9212-f9a0-4b32-979f-fab227be859c" providerId="ADAL" clId="{EC16653F-0293-42E2-8AB7-A3AA593D08A6}" dt="2022-10-14T16:11:02.504" v="685" actId="478"/>
          <ac:picMkLst>
            <pc:docMk/>
            <pc:sldMk cId="1852989823" sldId="286"/>
            <ac:picMk id="2" creationId="{D9BAC9A6-37A4-4A5F-A10C-F2D238C2F16F}"/>
          </ac:picMkLst>
        </pc:picChg>
      </pc:sldChg>
      <pc:sldChg chg="delSp modSp mod">
        <pc:chgData name="Stephanie Fisher" userId="4a8d9212-f9a0-4b32-979f-fab227be859c" providerId="ADAL" clId="{EC16653F-0293-42E2-8AB7-A3AA593D08A6}" dt="2022-10-14T16:11:08.167" v="687" actId="478"/>
        <pc:sldMkLst>
          <pc:docMk/>
          <pc:sldMk cId="4046620333" sldId="288"/>
        </pc:sldMkLst>
        <pc:spChg chg="mod">
          <ac:chgData name="Stephanie Fisher" userId="4a8d9212-f9a0-4b32-979f-fab227be859c" providerId="ADAL" clId="{EC16653F-0293-42E2-8AB7-A3AA593D08A6}" dt="2022-10-14T15:45:28.155" v="476" actId="1076"/>
          <ac:spMkLst>
            <pc:docMk/>
            <pc:sldMk cId="4046620333" sldId="288"/>
            <ac:spMk id="8" creationId="{0A9C8303-5A01-4392-A860-4B35F2BFD36D}"/>
          </ac:spMkLst>
        </pc:spChg>
        <pc:picChg chg="del">
          <ac:chgData name="Stephanie Fisher" userId="4a8d9212-f9a0-4b32-979f-fab227be859c" providerId="ADAL" clId="{EC16653F-0293-42E2-8AB7-A3AA593D08A6}" dt="2022-10-14T16:11:08.167" v="687" actId="478"/>
          <ac:picMkLst>
            <pc:docMk/>
            <pc:sldMk cId="4046620333" sldId="288"/>
            <ac:picMk id="2" creationId="{D9BAC9A6-37A4-4A5F-A10C-F2D238C2F16F}"/>
          </ac:picMkLst>
        </pc:picChg>
      </pc:sldChg>
      <pc:sldChg chg="delSp modSp mod">
        <pc:chgData name="Stephanie Fisher" userId="4a8d9212-f9a0-4b32-979f-fab227be859c" providerId="ADAL" clId="{EC16653F-0293-42E2-8AB7-A3AA593D08A6}" dt="2022-10-14T16:11:05.440" v="686" actId="478"/>
        <pc:sldMkLst>
          <pc:docMk/>
          <pc:sldMk cId="2885707917" sldId="289"/>
        </pc:sldMkLst>
        <pc:spChg chg="mod">
          <ac:chgData name="Stephanie Fisher" userId="4a8d9212-f9a0-4b32-979f-fab227be859c" providerId="ADAL" clId="{EC16653F-0293-42E2-8AB7-A3AA593D08A6}" dt="2022-10-14T15:35:21.058" v="164" actId="20577"/>
          <ac:spMkLst>
            <pc:docMk/>
            <pc:sldMk cId="2885707917" sldId="289"/>
            <ac:spMk id="10" creationId="{BA3D3BF9-9452-42DF-963A-5EA8016859C7}"/>
          </ac:spMkLst>
        </pc:spChg>
        <pc:picChg chg="del">
          <ac:chgData name="Stephanie Fisher" userId="4a8d9212-f9a0-4b32-979f-fab227be859c" providerId="ADAL" clId="{EC16653F-0293-42E2-8AB7-A3AA593D08A6}" dt="2022-10-14T16:11:05.440" v="686" actId="478"/>
          <ac:picMkLst>
            <pc:docMk/>
            <pc:sldMk cId="2885707917" sldId="289"/>
            <ac:picMk id="2" creationId="{D9BAC9A6-37A4-4A5F-A10C-F2D238C2F16F}"/>
          </ac:picMkLst>
        </pc:picChg>
      </pc:sldChg>
      <pc:sldChg chg="delSp mod">
        <pc:chgData name="Stephanie Fisher" userId="4a8d9212-f9a0-4b32-979f-fab227be859c" providerId="ADAL" clId="{EC16653F-0293-42E2-8AB7-A3AA593D08A6}" dt="2022-10-14T16:11:11.669" v="688" actId="478"/>
        <pc:sldMkLst>
          <pc:docMk/>
          <pc:sldMk cId="703817739" sldId="290"/>
        </pc:sldMkLst>
        <pc:picChg chg="del">
          <ac:chgData name="Stephanie Fisher" userId="4a8d9212-f9a0-4b32-979f-fab227be859c" providerId="ADAL" clId="{EC16653F-0293-42E2-8AB7-A3AA593D08A6}" dt="2022-10-14T16:11:11.669" v="688" actId="478"/>
          <ac:picMkLst>
            <pc:docMk/>
            <pc:sldMk cId="703817739" sldId="290"/>
            <ac:picMk id="2" creationId="{D9BAC9A6-37A4-4A5F-A10C-F2D238C2F16F}"/>
          </ac:picMkLst>
        </pc:picChg>
      </pc:sldChg>
      <pc:sldChg chg="delSp modSp mod">
        <pc:chgData name="Stephanie Fisher" userId="4a8d9212-f9a0-4b32-979f-fab227be859c" providerId="ADAL" clId="{EC16653F-0293-42E2-8AB7-A3AA593D08A6}" dt="2022-10-14T16:11:18.450" v="689" actId="1076"/>
        <pc:sldMkLst>
          <pc:docMk/>
          <pc:sldMk cId="2713448014" sldId="291"/>
        </pc:sldMkLst>
        <pc:spChg chg="mod">
          <ac:chgData name="Stephanie Fisher" userId="4a8d9212-f9a0-4b32-979f-fab227be859c" providerId="ADAL" clId="{EC16653F-0293-42E2-8AB7-A3AA593D08A6}" dt="2022-10-14T16:11:18.450" v="689" actId="1076"/>
          <ac:spMkLst>
            <pc:docMk/>
            <pc:sldMk cId="2713448014" sldId="291"/>
            <ac:spMk id="113" creationId="{00000000-0000-0000-0000-000000000000}"/>
          </ac:spMkLst>
        </pc:spChg>
        <pc:picChg chg="del">
          <ac:chgData name="Stephanie Fisher" userId="4a8d9212-f9a0-4b32-979f-fab227be859c" providerId="ADAL" clId="{EC16653F-0293-42E2-8AB7-A3AA593D08A6}" dt="2022-10-14T16:10:46.040" v="684" actId="478"/>
          <ac:picMkLst>
            <pc:docMk/>
            <pc:sldMk cId="2713448014" sldId="291"/>
            <ac:picMk id="2" creationId="{1A568EF9-F082-4E00-9F49-CD58BBCAD048}"/>
          </ac:picMkLst>
        </pc:picChg>
      </pc:sldChg>
      <pc:sldChg chg="delSp mod">
        <pc:chgData name="Stephanie Fisher" userId="4a8d9212-f9a0-4b32-979f-fab227be859c" providerId="ADAL" clId="{EC16653F-0293-42E2-8AB7-A3AA593D08A6}" dt="2022-10-14T16:10:34.948" v="682" actId="478"/>
        <pc:sldMkLst>
          <pc:docMk/>
          <pc:sldMk cId="1377157054" sldId="292"/>
        </pc:sldMkLst>
        <pc:picChg chg="del">
          <ac:chgData name="Stephanie Fisher" userId="4a8d9212-f9a0-4b32-979f-fab227be859c" providerId="ADAL" clId="{EC16653F-0293-42E2-8AB7-A3AA593D08A6}" dt="2022-10-14T16:10:34.948" v="682" actId="478"/>
          <ac:picMkLst>
            <pc:docMk/>
            <pc:sldMk cId="1377157054" sldId="292"/>
            <ac:picMk id="2" creationId="{1A568EF9-F082-4E00-9F49-CD58BBCAD048}"/>
          </ac:picMkLst>
        </pc:picChg>
      </pc:sldChg>
      <pc:sldChg chg="delSp mod">
        <pc:chgData name="Stephanie Fisher" userId="4a8d9212-f9a0-4b32-979f-fab227be859c" providerId="ADAL" clId="{EC16653F-0293-42E2-8AB7-A3AA593D08A6}" dt="2022-10-14T16:10:39.754" v="683" actId="478"/>
        <pc:sldMkLst>
          <pc:docMk/>
          <pc:sldMk cId="1414395498" sldId="293"/>
        </pc:sldMkLst>
        <pc:picChg chg="del">
          <ac:chgData name="Stephanie Fisher" userId="4a8d9212-f9a0-4b32-979f-fab227be859c" providerId="ADAL" clId="{EC16653F-0293-42E2-8AB7-A3AA593D08A6}" dt="2022-10-14T16:10:39.754" v="683" actId="478"/>
          <ac:picMkLst>
            <pc:docMk/>
            <pc:sldMk cId="1414395498" sldId="293"/>
            <ac:picMk id="2" creationId="{1A568EF9-F082-4E00-9F49-CD58BBCAD048}"/>
          </ac:picMkLst>
        </pc:picChg>
      </pc:sldChg>
      <pc:sldChg chg="setBg">
        <pc:chgData name="Stephanie Fisher" userId="4a8d9212-f9a0-4b32-979f-fab227be859c" providerId="ADAL" clId="{EC16653F-0293-42E2-8AB7-A3AA593D08A6}" dt="2022-10-08T14:59:35.258" v="91"/>
        <pc:sldMkLst>
          <pc:docMk/>
          <pc:sldMk cId="1309937835" sldId="294"/>
        </pc:sldMkLst>
      </pc:sldChg>
      <pc:sldChg chg="modSp mod">
        <pc:chgData name="Stephanie Fisher" userId="4a8d9212-f9a0-4b32-979f-fab227be859c" providerId="ADAL" clId="{EC16653F-0293-42E2-8AB7-A3AA593D08A6}" dt="2022-10-14T16:10:19.508" v="681" actId="6549"/>
        <pc:sldMkLst>
          <pc:docMk/>
          <pc:sldMk cId="1833065145" sldId="295"/>
        </pc:sldMkLst>
        <pc:spChg chg="mod">
          <ac:chgData name="Stephanie Fisher" userId="4a8d9212-f9a0-4b32-979f-fab227be859c" providerId="ADAL" clId="{EC16653F-0293-42E2-8AB7-A3AA593D08A6}" dt="2022-10-14T16:10:19.508" v="681" actId="6549"/>
          <ac:spMkLst>
            <pc:docMk/>
            <pc:sldMk cId="1833065145" sldId="295"/>
            <ac:spMk id="113" creationId="{00000000-0000-0000-0000-000000000000}"/>
          </ac:spMkLst>
        </pc:spChg>
      </pc:sldChg>
      <pc:sldChg chg="setBg">
        <pc:chgData name="Stephanie Fisher" userId="4a8d9212-f9a0-4b32-979f-fab227be859c" providerId="ADAL" clId="{EC16653F-0293-42E2-8AB7-A3AA593D08A6}" dt="2022-10-08T14:59:45.356" v="92"/>
        <pc:sldMkLst>
          <pc:docMk/>
          <pc:sldMk cId="3987612319" sldId="298"/>
        </pc:sldMkLst>
      </pc:sldChg>
      <pc:sldChg chg="addSp delSp modSp mod">
        <pc:chgData name="Stephanie Fisher" userId="4a8d9212-f9a0-4b32-979f-fab227be859c" providerId="ADAL" clId="{EC16653F-0293-42E2-8AB7-A3AA593D08A6}" dt="2022-10-14T15:44:06.111" v="473" actId="1076"/>
        <pc:sldMkLst>
          <pc:docMk/>
          <pc:sldMk cId="2265287557" sldId="305"/>
        </pc:sldMkLst>
        <pc:spChg chg="add mod">
          <ac:chgData name="Stephanie Fisher" userId="4a8d9212-f9a0-4b32-979f-fab227be859c" providerId="ADAL" clId="{EC16653F-0293-42E2-8AB7-A3AA593D08A6}" dt="2022-10-14T15:44:06.111" v="473" actId="1076"/>
          <ac:spMkLst>
            <pc:docMk/>
            <pc:sldMk cId="2265287557" sldId="305"/>
            <ac:spMk id="2" creationId="{BF18BD74-AC14-29B2-8507-B1312AB97278}"/>
          </ac:spMkLst>
        </pc:spChg>
        <pc:spChg chg="add mod">
          <ac:chgData name="Stephanie Fisher" userId="4a8d9212-f9a0-4b32-979f-fab227be859c" providerId="ADAL" clId="{EC16653F-0293-42E2-8AB7-A3AA593D08A6}" dt="2022-10-14T15:44:02.618" v="472" actId="1076"/>
          <ac:spMkLst>
            <pc:docMk/>
            <pc:sldMk cId="2265287557" sldId="305"/>
            <ac:spMk id="6" creationId="{A400B1A2-37F0-0FF6-E6D7-F76A92EEB086}"/>
          </ac:spMkLst>
        </pc:spChg>
        <pc:spChg chg="add del">
          <ac:chgData name="Stephanie Fisher" userId="4a8d9212-f9a0-4b32-979f-fab227be859c" providerId="ADAL" clId="{EC16653F-0293-42E2-8AB7-A3AA593D08A6}" dt="2022-10-14T15:41:03.601" v="310" actId="22"/>
          <ac:spMkLst>
            <pc:docMk/>
            <pc:sldMk cId="2265287557" sldId="305"/>
            <ac:spMk id="10" creationId="{BEB42E89-79CB-26A0-9850-9454F937645B}"/>
          </ac:spMkLst>
        </pc:spChg>
        <pc:spChg chg="add del mod">
          <ac:chgData name="Stephanie Fisher" userId="4a8d9212-f9a0-4b32-979f-fab227be859c" providerId="ADAL" clId="{EC16653F-0293-42E2-8AB7-A3AA593D08A6}" dt="2022-10-14T15:41:24.389" v="325"/>
          <ac:spMkLst>
            <pc:docMk/>
            <pc:sldMk cId="2265287557" sldId="305"/>
            <ac:spMk id="12" creationId="{89A6F7DB-55BA-6E93-0D42-8D9A3D1890D8}"/>
          </ac:spMkLst>
        </pc:spChg>
        <pc:spChg chg="add mod">
          <ac:chgData name="Stephanie Fisher" userId="4a8d9212-f9a0-4b32-979f-fab227be859c" providerId="ADAL" clId="{EC16653F-0293-42E2-8AB7-A3AA593D08A6}" dt="2022-10-14T15:43:51.152" v="467" actId="1076"/>
          <ac:spMkLst>
            <pc:docMk/>
            <pc:sldMk cId="2265287557" sldId="305"/>
            <ac:spMk id="14" creationId="{518355C6-1320-BB95-E9F5-C2F8C63A5419}"/>
          </ac:spMkLst>
        </pc:spChg>
        <pc:spChg chg="mod">
          <ac:chgData name="Stephanie Fisher" userId="4a8d9212-f9a0-4b32-979f-fab227be859c" providerId="ADAL" clId="{EC16653F-0293-42E2-8AB7-A3AA593D08A6}" dt="2022-10-14T15:43:55.503" v="469" actId="1076"/>
          <ac:spMkLst>
            <pc:docMk/>
            <pc:sldMk cId="2265287557" sldId="305"/>
            <ac:spMk id="228" creationId="{00000000-0000-0000-0000-000000000000}"/>
          </ac:spMkLst>
        </pc:spChg>
        <pc:spChg chg="mod">
          <ac:chgData name="Stephanie Fisher" userId="4a8d9212-f9a0-4b32-979f-fab227be859c" providerId="ADAL" clId="{EC16653F-0293-42E2-8AB7-A3AA593D08A6}" dt="2022-10-14T15:43:58.087" v="470" actId="1076"/>
          <ac:spMkLst>
            <pc:docMk/>
            <pc:sldMk cId="2265287557" sldId="305"/>
            <ac:spMk id="229" creationId="{00000000-0000-0000-0000-000000000000}"/>
          </ac:spMkLst>
        </pc:spChg>
        <pc:spChg chg="mod">
          <ac:chgData name="Stephanie Fisher" userId="4a8d9212-f9a0-4b32-979f-fab227be859c" providerId="ADAL" clId="{EC16653F-0293-42E2-8AB7-A3AA593D08A6}" dt="2022-10-14T15:43:59.885" v="471" actId="1076"/>
          <ac:spMkLst>
            <pc:docMk/>
            <pc:sldMk cId="2265287557" sldId="305"/>
            <ac:spMk id="230" creationId="{00000000-0000-0000-0000-000000000000}"/>
          </ac:spMkLst>
        </pc:spChg>
        <pc:spChg chg="mod">
          <ac:chgData name="Stephanie Fisher" userId="4a8d9212-f9a0-4b32-979f-fab227be859c" providerId="ADAL" clId="{EC16653F-0293-42E2-8AB7-A3AA593D08A6}" dt="2022-10-14T15:43:53.849" v="468" actId="1076"/>
          <ac:spMkLst>
            <pc:docMk/>
            <pc:sldMk cId="2265287557" sldId="305"/>
            <ac:spMk id="234" creationId="{00000000-0000-0000-0000-000000000000}"/>
          </ac:spMkLst>
        </pc:spChg>
        <pc:picChg chg="add del mod">
          <ac:chgData name="Stephanie Fisher" userId="4a8d9212-f9a0-4b32-979f-fab227be859c" providerId="ADAL" clId="{EC16653F-0293-42E2-8AB7-A3AA593D08A6}" dt="2022-10-14T15:37:57.030" v="188" actId="478"/>
          <ac:picMkLst>
            <pc:docMk/>
            <pc:sldMk cId="2265287557" sldId="305"/>
            <ac:picMk id="3" creationId="{AD7F406E-28DB-0DC8-96F4-A9829D228606}"/>
          </ac:picMkLst>
        </pc:picChg>
        <pc:picChg chg="add del mod">
          <ac:chgData name="Stephanie Fisher" userId="4a8d9212-f9a0-4b32-979f-fab227be859c" providerId="ADAL" clId="{EC16653F-0293-42E2-8AB7-A3AA593D08A6}" dt="2022-10-14T15:38:08.131" v="192" actId="478"/>
          <ac:picMkLst>
            <pc:docMk/>
            <pc:sldMk cId="2265287557" sldId="305"/>
            <ac:picMk id="4" creationId="{E6BED808-3695-A288-7193-CA92A4D2145E}"/>
          </ac:picMkLst>
        </pc:picChg>
        <pc:picChg chg="del">
          <ac:chgData name="Stephanie Fisher" userId="4a8d9212-f9a0-4b32-979f-fab227be859c" providerId="ADAL" clId="{EC16653F-0293-42E2-8AB7-A3AA593D08A6}" dt="2022-10-14T15:36:05.463" v="165" actId="478"/>
          <ac:picMkLst>
            <pc:docMk/>
            <pc:sldMk cId="2265287557" sldId="305"/>
            <ac:picMk id="8" creationId="{C40CE670-3CB6-4B59-B689-8039B1F0A8A1}"/>
          </ac:picMkLst>
        </pc:picChg>
        <pc:picChg chg="del mod">
          <ac:chgData name="Stephanie Fisher" userId="4a8d9212-f9a0-4b32-979f-fab227be859c" providerId="ADAL" clId="{EC16653F-0293-42E2-8AB7-A3AA593D08A6}" dt="2022-10-14T15:38:04.884" v="190" actId="478"/>
          <ac:picMkLst>
            <pc:docMk/>
            <pc:sldMk cId="2265287557" sldId="305"/>
            <ac:picMk id="9" creationId="{4298E63F-BFBD-4083-AD78-AF6BE6AF220F}"/>
          </ac:picMkLst>
        </pc:picChg>
      </pc:sldChg>
      <pc:sldChg chg="addSp modSp mod">
        <pc:chgData name="Stephanie Fisher" userId="4a8d9212-f9a0-4b32-979f-fab227be859c" providerId="ADAL" clId="{EC16653F-0293-42E2-8AB7-A3AA593D08A6}" dt="2022-10-14T15:25:28.265" v="108" actId="1076"/>
        <pc:sldMkLst>
          <pc:docMk/>
          <pc:sldMk cId="2227147202" sldId="313"/>
        </pc:sldMkLst>
        <pc:spChg chg="mod">
          <ac:chgData name="Stephanie Fisher" userId="4a8d9212-f9a0-4b32-979f-fab227be859c" providerId="ADAL" clId="{EC16653F-0293-42E2-8AB7-A3AA593D08A6}" dt="2022-10-05T16:23:42.234" v="21" actId="20577"/>
          <ac:spMkLst>
            <pc:docMk/>
            <pc:sldMk cId="2227147202" sldId="313"/>
            <ac:spMk id="208" creationId="{00000000-0000-0000-0000-000000000000}"/>
          </ac:spMkLst>
        </pc:spChg>
        <pc:picChg chg="add mod">
          <ac:chgData name="Stephanie Fisher" userId="4a8d9212-f9a0-4b32-979f-fab227be859c" providerId="ADAL" clId="{EC16653F-0293-42E2-8AB7-A3AA593D08A6}" dt="2022-10-14T15:25:28.265" v="108" actId="1076"/>
          <ac:picMkLst>
            <pc:docMk/>
            <pc:sldMk cId="2227147202" sldId="313"/>
            <ac:picMk id="1026" creationId="{54C5DE7D-C033-966B-D07F-7F099528DB9E}"/>
          </ac:picMkLst>
        </pc:picChg>
      </pc:sldChg>
      <pc:sldChg chg="addSp modSp mod">
        <pc:chgData name="Stephanie Fisher" userId="4a8d9212-f9a0-4b32-979f-fab227be859c" providerId="ADAL" clId="{EC16653F-0293-42E2-8AB7-A3AA593D08A6}" dt="2022-10-14T15:46:57.855" v="507" actId="1076"/>
        <pc:sldMkLst>
          <pc:docMk/>
          <pc:sldMk cId="2005301438" sldId="326"/>
        </pc:sldMkLst>
        <pc:spChg chg="add mod">
          <ac:chgData name="Stephanie Fisher" userId="4a8d9212-f9a0-4b32-979f-fab227be859c" providerId="ADAL" clId="{EC16653F-0293-42E2-8AB7-A3AA593D08A6}" dt="2022-10-14T15:46:57.855" v="507" actId="1076"/>
          <ac:spMkLst>
            <pc:docMk/>
            <pc:sldMk cId="2005301438" sldId="326"/>
            <ac:spMk id="4" creationId="{AAEAD148-D056-3226-938D-A343076538B1}"/>
          </ac:spMkLst>
        </pc:spChg>
        <pc:spChg chg="mod">
          <ac:chgData name="Stephanie Fisher" userId="4a8d9212-f9a0-4b32-979f-fab227be859c" providerId="ADAL" clId="{EC16653F-0293-42E2-8AB7-A3AA593D08A6}" dt="2022-10-14T15:46:44.411" v="501" actId="1076"/>
          <ac:spMkLst>
            <pc:docMk/>
            <pc:sldMk cId="2005301438" sldId="326"/>
            <ac:spMk id="98" creationId="{00000000-0000-0000-0000-000000000000}"/>
          </ac:spMkLst>
        </pc:spChg>
        <pc:picChg chg="mod">
          <ac:chgData name="Stephanie Fisher" userId="4a8d9212-f9a0-4b32-979f-fab227be859c" providerId="ADAL" clId="{EC16653F-0293-42E2-8AB7-A3AA593D08A6}" dt="2022-10-14T15:46:48.061" v="503" actId="1076"/>
          <ac:picMkLst>
            <pc:docMk/>
            <pc:sldMk cId="2005301438" sldId="326"/>
            <ac:picMk id="2050" creationId="{039EB297-AB02-0D2F-1C95-4D5462427B92}"/>
          </ac:picMkLst>
        </pc:picChg>
      </pc:sldChg>
      <pc:sldChg chg="modSp mod">
        <pc:chgData name="Stephanie Fisher" userId="4a8d9212-f9a0-4b32-979f-fab227be859c" providerId="ADAL" clId="{EC16653F-0293-42E2-8AB7-A3AA593D08A6}" dt="2022-10-14T16:09:16.654" v="658" actId="20577"/>
        <pc:sldMkLst>
          <pc:docMk/>
          <pc:sldMk cId="1507993503" sldId="328"/>
        </pc:sldMkLst>
        <pc:spChg chg="mod">
          <ac:chgData name="Stephanie Fisher" userId="4a8d9212-f9a0-4b32-979f-fab227be859c" providerId="ADAL" clId="{EC16653F-0293-42E2-8AB7-A3AA593D08A6}" dt="2022-10-14T16:09:16.654" v="658" actId="20577"/>
          <ac:spMkLst>
            <pc:docMk/>
            <pc:sldMk cId="1507993503" sldId="328"/>
            <ac:spMk id="4" creationId="{B738983D-A292-2C14-BE75-8360967D32E6}"/>
          </ac:spMkLst>
        </pc:spChg>
      </pc:sldChg>
      <pc:sldChg chg="addSp delSp modSp mod">
        <pc:chgData name="Stephanie Fisher" userId="4a8d9212-f9a0-4b32-979f-fab227be859c" providerId="ADAL" clId="{EC16653F-0293-42E2-8AB7-A3AA593D08A6}" dt="2022-10-14T16:13:05.292" v="699" actId="1076"/>
        <pc:sldMkLst>
          <pc:docMk/>
          <pc:sldMk cId="722169022" sldId="330"/>
        </pc:sldMkLst>
        <pc:spChg chg="mod">
          <ac:chgData name="Stephanie Fisher" userId="4a8d9212-f9a0-4b32-979f-fab227be859c" providerId="ADAL" clId="{EC16653F-0293-42E2-8AB7-A3AA593D08A6}" dt="2022-10-14T16:12:09.534" v="695" actId="20577"/>
          <ac:spMkLst>
            <pc:docMk/>
            <pc:sldMk cId="722169022" sldId="330"/>
            <ac:spMk id="112" creationId="{00000000-0000-0000-0000-000000000000}"/>
          </ac:spMkLst>
        </pc:spChg>
        <pc:spChg chg="mod">
          <ac:chgData name="Stephanie Fisher" userId="4a8d9212-f9a0-4b32-979f-fab227be859c" providerId="ADAL" clId="{EC16653F-0293-42E2-8AB7-A3AA593D08A6}" dt="2022-10-14T16:07:11.733" v="569" actId="14100"/>
          <ac:spMkLst>
            <pc:docMk/>
            <pc:sldMk cId="722169022" sldId="330"/>
            <ac:spMk id="113" creationId="{00000000-0000-0000-0000-000000000000}"/>
          </ac:spMkLst>
        </pc:spChg>
        <pc:picChg chg="del">
          <ac:chgData name="Stephanie Fisher" userId="4a8d9212-f9a0-4b32-979f-fab227be859c" providerId="ADAL" clId="{EC16653F-0293-42E2-8AB7-A3AA593D08A6}" dt="2022-10-14T16:12:11.792" v="696" actId="478"/>
          <ac:picMkLst>
            <pc:docMk/>
            <pc:sldMk cId="722169022" sldId="330"/>
            <ac:picMk id="7" creationId="{002C1FBF-7E4D-E142-B16F-64AE6A139DB8}"/>
          </ac:picMkLst>
        </pc:picChg>
        <pc:picChg chg="add mod">
          <ac:chgData name="Stephanie Fisher" userId="4a8d9212-f9a0-4b32-979f-fab227be859c" providerId="ADAL" clId="{EC16653F-0293-42E2-8AB7-A3AA593D08A6}" dt="2022-10-14T16:13:05.292" v="699" actId="1076"/>
          <ac:picMkLst>
            <pc:docMk/>
            <pc:sldMk cId="722169022" sldId="330"/>
            <ac:picMk id="2050" creationId="{BF67179E-A56A-ABA5-C389-FEF75FB63653}"/>
          </ac:picMkLst>
        </pc:picChg>
      </pc:sldChg>
      <pc:sldChg chg="delSp modSp mod">
        <pc:chgData name="Stephanie Fisher" userId="4a8d9212-f9a0-4b32-979f-fab227be859c" providerId="ADAL" clId="{EC16653F-0293-42E2-8AB7-A3AA593D08A6}" dt="2022-10-14T16:07:39.063" v="573" actId="478"/>
        <pc:sldMkLst>
          <pc:docMk/>
          <pc:sldMk cId="4278624088" sldId="331"/>
        </pc:sldMkLst>
        <pc:picChg chg="del">
          <ac:chgData name="Stephanie Fisher" userId="4a8d9212-f9a0-4b32-979f-fab227be859c" providerId="ADAL" clId="{EC16653F-0293-42E2-8AB7-A3AA593D08A6}" dt="2022-10-14T16:07:39.063" v="573" actId="478"/>
          <ac:picMkLst>
            <pc:docMk/>
            <pc:sldMk cId="4278624088" sldId="331"/>
            <ac:picMk id="2" creationId="{1A568EF9-F082-4E00-9F49-CD58BBCAD048}"/>
          </ac:picMkLst>
        </pc:picChg>
        <pc:picChg chg="mod">
          <ac:chgData name="Stephanie Fisher" userId="4a8d9212-f9a0-4b32-979f-fab227be859c" providerId="ADAL" clId="{EC16653F-0293-42E2-8AB7-A3AA593D08A6}" dt="2022-10-14T16:07:37.146" v="572" actId="14100"/>
          <ac:picMkLst>
            <pc:docMk/>
            <pc:sldMk cId="4278624088" sldId="331"/>
            <ac:picMk id="3" creationId="{EC986086-1AA5-D0C8-A0E2-D55D3F1B5556}"/>
          </ac:picMkLst>
        </pc:picChg>
      </pc:sldChg>
      <pc:sldChg chg="delSp modSp mod">
        <pc:chgData name="Stephanie Fisher" userId="4a8d9212-f9a0-4b32-979f-fab227be859c" providerId="ADAL" clId="{EC16653F-0293-42E2-8AB7-A3AA593D08A6}" dt="2022-10-14T16:09:53.008" v="679" actId="478"/>
        <pc:sldMkLst>
          <pc:docMk/>
          <pc:sldMk cId="0" sldId="336"/>
        </pc:sldMkLst>
        <pc:spChg chg="mod">
          <ac:chgData name="Stephanie Fisher" userId="4a8d9212-f9a0-4b32-979f-fab227be859c" providerId="ADAL" clId="{EC16653F-0293-42E2-8AB7-A3AA593D08A6}" dt="2022-10-14T16:09:51.098" v="678" actId="1076"/>
          <ac:spMkLst>
            <pc:docMk/>
            <pc:sldMk cId="0" sldId="336"/>
            <ac:spMk id="11" creationId="{4DCC72B6-9CBA-4338-8860-F8F8432B7264}"/>
          </ac:spMkLst>
        </pc:spChg>
        <pc:spChg chg="mod">
          <ac:chgData name="Stephanie Fisher" userId="4a8d9212-f9a0-4b32-979f-fab227be859c" providerId="ADAL" clId="{EC16653F-0293-42E2-8AB7-A3AA593D08A6}" dt="2022-10-08T14:59:01.874" v="90" actId="1076"/>
          <ac:spMkLst>
            <pc:docMk/>
            <pc:sldMk cId="0" sldId="336"/>
            <ac:spMk id="12" creationId="{7080B362-1B2E-4BA2-86E0-68F95C234C31}"/>
          </ac:spMkLst>
        </pc:spChg>
        <pc:spChg chg="mod">
          <ac:chgData name="Stephanie Fisher" userId="4a8d9212-f9a0-4b32-979f-fab227be859c" providerId="ADAL" clId="{EC16653F-0293-42E2-8AB7-A3AA593D08A6}" dt="2022-10-08T14:58:58.476" v="89" actId="1076"/>
          <ac:spMkLst>
            <pc:docMk/>
            <pc:sldMk cId="0" sldId="336"/>
            <ac:spMk id="157" creationId="{00000000-0000-0000-0000-000000000000}"/>
          </ac:spMkLst>
        </pc:spChg>
        <pc:spChg chg="mod">
          <ac:chgData name="Stephanie Fisher" userId="4a8d9212-f9a0-4b32-979f-fab227be859c" providerId="ADAL" clId="{EC16653F-0293-42E2-8AB7-A3AA593D08A6}" dt="2022-10-08T14:58:41.677" v="70" actId="1076"/>
          <ac:spMkLst>
            <pc:docMk/>
            <pc:sldMk cId="0" sldId="336"/>
            <ac:spMk id="158" creationId="{00000000-0000-0000-0000-000000000000}"/>
          </ac:spMkLst>
        </pc:spChg>
        <pc:picChg chg="del">
          <ac:chgData name="Stephanie Fisher" userId="4a8d9212-f9a0-4b32-979f-fab227be859c" providerId="ADAL" clId="{EC16653F-0293-42E2-8AB7-A3AA593D08A6}" dt="2022-10-08T14:56:12.810" v="23" actId="478"/>
          <ac:picMkLst>
            <pc:docMk/>
            <pc:sldMk cId="0" sldId="336"/>
            <ac:picMk id="5" creationId="{DCB10043-8573-4616-B01E-FE1F3E873D9A}"/>
          </ac:picMkLst>
        </pc:picChg>
        <pc:picChg chg="del">
          <ac:chgData name="Stephanie Fisher" userId="4a8d9212-f9a0-4b32-979f-fab227be859c" providerId="ADAL" clId="{EC16653F-0293-42E2-8AB7-A3AA593D08A6}" dt="2022-10-14T16:09:53.008" v="679" actId="478"/>
          <ac:picMkLst>
            <pc:docMk/>
            <pc:sldMk cId="0" sldId="336"/>
            <ac:picMk id="9" creationId="{E093274C-C441-F057-8F39-1C49D8D193B9}"/>
          </ac:picMkLst>
        </pc:picChg>
      </pc:sldChg>
      <pc:sldChg chg="addSp modSp mod">
        <pc:chgData name="Stephanie Fisher" userId="4a8d9212-f9a0-4b32-979f-fab227be859c" providerId="ADAL" clId="{EC16653F-0293-42E2-8AB7-A3AA593D08A6}" dt="2022-10-14T16:05:47.722" v="562" actId="6549"/>
        <pc:sldMkLst>
          <pc:docMk/>
          <pc:sldMk cId="25292926" sldId="341"/>
        </pc:sldMkLst>
        <pc:spChg chg="add mod">
          <ac:chgData name="Stephanie Fisher" userId="4a8d9212-f9a0-4b32-979f-fab227be859c" providerId="ADAL" clId="{EC16653F-0293-42E2-8AB7-A3AA593D08A6}" dt="2022-10-14T16:05:47.722" v="562" actId="6549"/>
          <ac:spMkLst>
            <pc:docMk/>
            <pc:sldMk cId="25292926" sldId="341"/>
            <ac:spMk id="3" creationId="{F39CB079-B8E4-548F-5095-EBD0012BFF90}"/>
          </ac:spMkLst>
        </pc:spChg>
      </pc:sldChg>
      <pc:sldChg chg="modSp setBg">
        <pc:chgData name="Stephanie Fisher" userId="4a8d9212-f9a0-4b32-979f-fab227be859c" providerId="ADAL" clId="{EC16653F-0293-42E2-8AB7-A3AA593D08A6}" dt="2022-10-14T16:06:32.438" v="563" actId="1076"/>
        <pc:sldMkLst>
          <pc:docMk/>
          <pc:sldMk cId="539516423" sldId="342"/>
        </pc:sldMkLst>
        <pc:picChg chg="mod">
          <ac:chgData name="Stephanie Fisher" userId="4a8d9212-f9a0-4b32-979f-fab227be859c" providerId="ADAL" clId="{EC16653F-0293-42E2-8AB7-A3AA593D08A6}" dt="2022-10-14T16:06:32.438" v="563" actId="1076"/>
          <ac:picMkLst>
            <pc:docMk/>
            <pc:sldMk cId="539516423" sldId="342"/>
            <ac:picMk id="1026" creationId="{C3EC5B39-BA0F-1A3B-A551-EF2930093A0C}"/>
          </ac:picMkLst>
        </pc:picChg>
      </pc:sldChg>
      <pc:sldChg chg="delSp mod">
        <pc:chgData name="Stephanie Fisher" userId="4a8d9212-f9a0-4b32-979f-fab227be859c" providerId="ADAL" clId="{EC16653F-0293-42E2-8AB7-A3AA593D08A6}" dt="2022-10-14T16:11:58.973" v="690" actId="478"/>
        <pc:sldMkLst>
          <pc:docMk/>
          <pc:sldMk cId="1206472173" sldId="344"/>
        </pc:sldMkLst>
        <pc:picChg chg="del">
          <ac:chgData name="Stephanie Fisher" userId="4a8d9212-f9a0-4b32-979f-fab227be859c" providerId="ADAL" clId="{EC16653F-0293-42E2-8AB7-A3AA593D08A6}" dt="2022-10-14T16:11:58.973" v="690" actId="478"/>
          <ac:picMkLst>
            <pc:docMk/>
            <pc:sldMk cId="1206472173" sldId="344"/>
            <ac:picMk id="2" creationId="{1A568EF9-F082-4E00-9F49-CD58BBCAD048}"/>
          </ac:picMkLst>
        </pc:picChg>
      </pc:sldChg>
      <pc:sldChg chg="modSp mod setBg">
        <pc:chgData name="Stephanie Fisher" userId="4a8d9212-f9a0-4b32-979f-fab227be859c" providerId="ADAL" clId="{EC16653F-0293-42E2-8AB7-A3AA593D08A6}" dt="2022-10-14T16:08:00.439" v="576" actId="14100"/>
        <pc:sldMkLst>
          <pc:docMk/>
          <pc:sldMk cId="861857484" sldId="345"/>
        </pc:sldMkLst>
        <pc:spChg chg="mod">
          <ac:chgData name="Stephanie Fisher" userId="4a8d9212-f9a0-4b32-979f-fab227be859c" providerId="ADAL" clId="{EC16653F-0293-42E2-8AB7-A3AA593D08A6}" dt="2022-10-14T16:08:00.439" v="576" actId="14100"/>
          <ac:spMkLst>
            <pc:docMk/>
            <pc:sldMk cId="861857484" sldId="345"/>
            <ac:spMk id="7" creationId="{265D39AF-FD31-5791-DF06-7338DBBCF409}"/>
          </ac:spMkLst>
        </pc:spChg>
      </pc:sldChg>
      <pc:sldChg chg="modSp mod">
        <pc:chgData name="Stephanie Fisher" userId="4a8d9212-f9a0-4b32-979f-fab227be859c" providerId="ADAL" clId="{EC16653F-0293-42E2-8AB7-A3AA593D08A6}" dt="2022-10-14T16:07:52.570" v="575" actId="255"/>
        <pc:sldMkLst>
          <pc:docMk/>
          <pc:sldMk cId="1555783482" sldId="346"/>
        </pc:sldMkLst>
        <pc:spChg chg="mod">
          <ac:chgData name="Stephanie Fisher" userId="4a8d9212-f9a0-4b32-979f-fab227be859c" providerId="ADAL" clId="{EC16653F-0293-42E2-8AB7-A3AA593D08A6}" dt="2022-10-14T16:07:52.570" v="575" actId="255"/>
          <ac:spMkLst>
            <pc:docMk/>
            <pc:sldMk cId="1555783482" sldId="346"/>
            <ac:spMk id="112" creationId="{00000000-0000-0000-0000-000000000000}"/>
          </ac:spMkLst>
        </pc:spChg>
      </pc:sldChg>
      <pc:sldChg chg="modSp mod">
        <pc:chgData name="Stephanie Fisher" userId="4a8d9212-f9a0-4b32-979f-fab227be859c" providerId="ADAL" clId="{EC16653F-0293-42E2-8AB7-A3AA593D08A6}" dt="2022-10-08T15:03:19.353" v="100" actId="27636"/>
        <pc:sldMkLst>
          <pc:docMk/>
          <pc:sldMk cId="917625855" sldId="347"/>
        </pc:sldMkLst>
        <pc:spChg chg="mod">
          <ac:chgData name="Stephanie Fisher" userId="4a8d9212-f9a0-4b32-979f-fab227be859c" providerId="ADAL" clId="{EC16653F-0293-42E2-8AB7-A3AA593D08A6}" dt="2022-10-08T15:03:19.353" v="100" actId="27636"/>
          <ac:spMkLst>
            <pc:docMk/>
            <pc:sldMk cId="917625855" sldId="347"/>
            <ac:spMk id="113" creationId="{00000000-0000-0000-0000-000000000000}"/>
          </ac:spMkLst>
        </pc:spChg>
      </pc:sldChg>
      <pc:sldChg chg="addSp modSp mod">
        <pc:chgData name="Stephanie Fisher" userId="4a8d9212-f9a0-4b32-979f-fab227be859c" providerId="ADAL" clId="{EC16653F-0293-42E2-8AB7-A3AA593D08A6}" dt="2022-10-14T15:29:31.316" v="129" actId="1076"/>
        <pc:sldMkLst>
          <pc:docMk/>
          <pc:sldMk cId="3823646688" sldId="348"/>
        </pc:sldMkLst>
        <pc:spChg chg="mod">
          <ac:chgData name="Stephanie Fisher" userId="4a8d9212-f9a0-4b32-979f-fab227be859c" providerId="ADAL" clId="{EC16653F-0293-42E2-8AB7-A3AA593D08A6}" dt="2022-10-14T15:29:31.316" v="129" actId="1076"/>
          <ac:spMkLst>
            <pc:docMk/>
            <pc:sldMk cId="3823646688" sldId="348"/>
            <ac:spMk id="5" creationId="{B07AA78F-9518-4FBE-40E8-DEA00AA5831A}"/>
          </ac:spMkLst>
        </pc:spChg>
        <pc:picChg chg="mod">
          <ac:chgData name="Stephanie Fisher" userId="4a8d9212-f9a0-4b32-979f-fab227be859c" providerId="ADAL" clId="{EC16653F-0293-42E2-8AB7-A3AA593D08A6}" dt="2022-10-14T15:29:23.017" v="128" actId="1076"/>
          <ac:picMkLst>
            <pc:docMk/>
            <pc:sldMk cId="3823646688" sldId="348"/>
            <ac:picMk id="3" creationId="{87DC8D0A-6F08-2AFD-6871-2038808C1939}"/>
          </ac:picMkLst>
        </pc:picChg>
        <pc:picChg chg="add mod">
          <ac:chgData name="Stephanie Fisher" userId="4a8d9212-f9a0-4b32-979f-fab227be859c" providerId="ADAL" clId="{EC16653F-0293-42E2-8AB7-A3AA593D08A6}" dt="2022-10-14T15:29:19.780" v="127" actId="1076"/>
          <ac:picMkLst>
            <pc:docMk/>
            <pc:sldMk cId="3823646688" sldId="348"/>
            <ac:picMk id="1026" creationId="{1DAA13A4-7E5A-B593-2057-A5E4A94AE1F1}"/>
          </ac:picMkLst>
        </pc:picChg>
        <pc:picChg chg="add mod">
          <ac:chgData name="Stephanie Fisher" userId="4a8d9212-f9a0-4b32-979f-fab227be859c" providerId="ADAL" clId="{EC16653F-0293-42E2-8AB7-A3AA593D08A6}" dt="2022-10-14T15:29:16.248" v="125" actId="1076"/>
          <ac:picMkLst>
            <pc:docMk/>
            <pc:sldMk cId="3823646688" sldId="348"/>
            <ac:picMk id="1028" creationId="{E4A1929A-C671-39D7-FBD0-2A56253CB130}"/>
          </ac:picMkLst>
        </pc:picChg>
      </pc:sldChg>
      <pc:sldChg chg="modSp mod">
        <pc:chgData name="Stephanie Fisher" userId="4a8d9212-f9a0-4b32-979f-fab227be859c" providerId="ADAL" clId="{EC16653F-0293-42E2-8AB7-A3AA593D08A6}" dt="2022-10-14T16:07:26.236" v="571" actId="1076"/>
        <pc:sldMkLst>
          <pc:docMk/>
          <pc:sldMk cId="1168579712" sldId="350"/>
        </pc:sldMkLst>
        <pc:spChg chg="mod">
          <ac:chgData name="Stephanie Fisher" userId="4a8d9212-f9a0-4b32-979f-fab227be859c" providerId="ADAL" clId="{EC16653F-0293-42E2-8AB7-A3AA593D08A6}" dt="2022-10-14T16:07:26.236" v="571" actId="1076"/>
          <ac:spMkLst>
            <pc:docMk/>
            <pc:sldMk cId="1168579712" sldId="350"/>
            <ac:spMk id="6" creationId="{BF34C756-5C64-7B46-51D7-344953C9BBB3}"/>
          </ac:spMkLst>
        </pc:spChg>
      </pc:sldChg>
      <pc:sldChg chg="setBg">
        <pc:chgData name="Stephanie Fisher" userId="4a8d9212-f9a0-4b32-979f-fab227be859c" providerId="ADAL" clId="{EC16653F-0293-42E2-8AB7-A3AA593D08A6}" dt="2022-10-08T14:59:55.459" v="93"/>
        <pc:sldMkLst>
          <pc:docMk/>
          <pc:sldMk cId="1396187167" sldId="352"/>
        </pc:sldMkLst>
      </pc:sldChg>
    </pc:docChg>
  </pc:docChgLst>
  <pc:docChgLst>
    <pc:chgData name="Stephanie Fisher" userId="4a8d9212-f9a0-4b32-979f-fab227be859c" providerId="ADAL" clId="{155A6597-D97D-4D7D-8EB9-8717E9142120}"/>
    <pc:docChg chg="undo redo custSel addSld delSld modSld modSection">
      <pc:chgData name="Stephanie Fisher" userId="4a8d9212-f9a0-4b32-979f-fab227be859c" providerId="ADAL" clId="{155A6597-D97D-4D7D-8EB9-8717E9142120}" dt="2023-01-31T19:30:45.854" v="327" actId="1076"/>
      <pc:docMkLst>
        <pc:docMk/>
      </pc:docMkLst>
      <pc:sldChg chg="modSp mod">
        <pc:chgData name="Stephanie Fisher" userId="4a8d9212-f9a0-4b32-979f-fab227be859c" providerId="ADAL" clId="{155A6597-D97D-4D7D-8EB9-8717E9142120}" dt="2022-10-21T15:54:06.851" v="18" actId="20577"/>
        <pc:sldMkLst>
          <pc:docMk/>
          <pc:sldMk cId="0" sldId="261"/>
        </pc:sldMkLst>
        <pc:spChg chg="mod">
          <ac:chgData name="Stephanie Fisher" userId="4a8d9212-f9a0-4b32-979f-fab227be859c" providerId="ADAL" clId="{155A6597-D97D-4D7D-8EB9-8717E9142120}" dt="2022-10-21T15:54:06.851" v="18" actId="20577"/>
          <ac:spMkLst>
            <pc:docMk/>
            <pc:sldMk cId="0" sldId="261"/>
            <ac:spMk id="113" creationId="{00000000-0000-0000-0000-000000000000}"/>
          </ac:spMkLst>
        </pc:spChg>
      </pc:sldChg>
      <pc:sldChg chg="modSp mod">
        <pc:chgData name="Stephanie Fisher" userId="4a8d9212-f9a0-4b32-979f-fab227be859c" providerId="ADAL" clId="{155A6597-D97D-4D7D-8EB9-8717E9142120}" dt="2022-11-03T16:39:44.683" v="72" actId="20577"/>
        <pc:sldMkLst>
          <pc:docMk/>
          <pc:sldMk cId="0" sldId="273"/>
        </pc:sldMkLst>
        <pc:spChg chg="mod">
          <ac:chgData name="Stephanie Fisher" userId="4a8d9212-f9a0-4b32-979f-fab227be859c" providerId="ADAL" clId="{155A6597-D97D-4D7D-8EB9-8717E9142120}" dt="2022-11-03T16:39:44.683" v="72" actId="20577"/>
          <ac:spMkLst>
            <pc:docMk/>
            <pc:sldMk cId="0" sldId="273"/>
            <ac:spMk id="22" creationId="{8968593B-2C50-DC1C-2F3F-057E7EB7E6EA}"/>
          </ac:spMkLst>
        </pc:spChg>
      </pc:sldChg>
      <pc:sldChg chg="modSp mod">
        <pc:chgData name="Stephanie Fisher" userId="4a8d9212-f9a0-4b32-979f-fab227be859c" providerId="ADAL" clId="{155A6597-D97D-4D7D-8EB9-8717E9142120}" dt="2022-11-03T16:36:44.779" v="44" actId="27636"/>
        <pc:sldMkLst>
          <pc:docMk/>
          <pc:sldMk cId="2275805231" sldId="300"/>
        </pc:sldMkLst>
        <pc:spChg chg="mod">
          <ac:chgData name="Stephanie Fisher" userId="4a8d9212-f9a0-4b32-979f-fab227be859c" providerId="ADAL" clId="{155A6597-D97D-4D7D-8EB9-8717E9142120}" dt="2022-11-03T16:35:44.182" v="39"/>
          <ac:spMkLst>
            <pc:docMk/>
            <pc:sldMk cId="2275805231" sldId="300"/>
            <ac:spMk id="112" creationId="{00000000-0000-0000-0000-000000000000}"/>
          </ac:spMkLst>
        </pc:spChg>
        <pc:spChg chg="mod">
          <ac:chgData name="Stephanie Fisher" userId="4a8d9212-f9a0-4b32-979f-fab227be859c" providerId="ADAL" clId="{155A6597-D97D-4D7D-8EB9-8717E9142120}" dt="2022-11-03T16:36:44.779" v="44" actId="27636"/>
          <ac:spMkLst>
            <pc:docMk/>
            <pc:sldMk cId="2275805231" sldId="300"/>
            <ac:spMk id="113" creationId="{00000000-0000-0000-0000-000000000000}"/>
          </ac:spMkLst>
        </pc:spChg>
      </pc:sldChg>
      <pc:sldChg chg="delSp mod">
        <pc:chgData name="Stephanie Fisher" userId="4a8d9212-f9a0-4b32-979f-fab227be859c" providerId="ADAL" clId="{155A6597-D97D-4D7D-8EB9-8717E9142120}" dt="2022-10-14T16:20:27.232" v="13" actId="478"/>
        <pc:sldMkLst>
          <pc:docMk/>
          <pc:sldMk cId="795382138" sldId="302"/>
        </pc:sldMkLst>
        <pc:picChg chg="del">
          <ac:chgData name="Stephanie Fisher" userId="4a8d9212-f9a0-4b32-979f-fab227be859c" providerId="ADAL" clId="{155A6597-D97D-4D7D-8EB9-8717E9142120}" dt="2022-10-14T16:20:27.232" v="13" actId="478"/>
          <ac:picMkLst>
            <pc:docMk/>
            <pc:sldMk cId="795382138" sldId="302"/>
            <ac:picMk id="2" creationId="{1A568EF9-F082-4E00-9F49-CD58BBCAD048}"/>
          </ac:picMkLst>
        </pc:picChg>
      </pc:sldChg>
      <pc:sldChg chg="modSp mod">
        <pc:chgData name="Stephanie Fisher" userId="4a8d9212-f9a0-4b32-979f-fab227be859c" providerId="ADAL" clId="{155A6597-D97D-4D7D-8EB9-8717E9142120}" dt="2022-11-03T16:30:12.072" v="29" actId="20577"/>
        <pc:sldMkLst>
          <pc:docMk/>
          <pc:sldMk cId="2265287557" sldId="305"/>
        </pc:sldMkLst>
        <pc:spChg chg="mod">
          <ac:chgData name="Stephanie Fisher" userId="4a8d9212-f9a0-4b32-979f-fab227be859c" providerId="ADAL" clId="{155A6597-D97D-4D7D-8EB9-8717E9142120}" dt="2022-11-03T16:30:12.072" v="29" actId="20577"/>
          <ac:spMkLst>
            <pc:docMk/>
            <pc:sldMk cId="2265287557" sldId="305"/>
            <ac:spMk id="6" creationId="{A400B1A2-37F0-0FF6-E6D7-F76A92EEB086}"/>
          </ac:spMkLst>
        </pc:spChg>
      </pc:sldChg>
      <pc:sldChg chg="addSp delSp modSp mod setBg addAnim delAnim">
        <pc:chgData name="Stephanie Fisher" userId="4a8d9212-f9a0-4b32-979f-fab227be859c" providerId="ADAL" clId="{155A6597-D97D-4D7D-8EB9-8717E9142120}" dt="2023-01-26T21:44:18.813" v="143" actId="122"/>
        <pc:sldMkLst>
          <pc:docMk/>
          <pc:sldMk cId="2227147202" sldId="313"/>
        </pc:sldMkLst>
        <pc:spChg chg="mod ord">
          <ac:chgData name="Stephanie Fisher" userId="4a8d9212-f9a0-4b32-979f-fab227be859c" providerId="ADAL" clId="{155A6597-D97D-4D7D-8EB9-8717E9142120}" dt="2022-10-14T16:18:58.007" v="7" actId="26606"/>
          <ac:spMkLst>
            <pc:docMk/>
            <pc:sldMk cId="2227147202" sldId="313"/>
            <ac:spMk id="2" creationId="{0340B996-2443-7CB9-9394-584AF110B546}"/>
          </ac:spMkLst>
        </pc:spChg>
        <pc:spChg chg="mod">
          <ac:chgData name="Stephanie Fisher" userId="4a8d9212-f9a0-4b32-979f-fab227be859c" providerId="ADAL" clId="{155A6597-D97D-4D7D-8EB9-8717E9142120}" dt="2023-01-26T21:44:18.813" v="143" actId="122"/>
          <ac:spMkLst>
            <pc:docMk/>
            <pc:sldMk cId="2227147202" sldId="313"/>
            <ac:spMk id="208" creationId="{00000000-0000-0000-0000-000000000000}"/>
          </ac:spMkLst>
        </pc:spChg>
        <pc:spChg chg="add del">
          <ac:chgData name="Stephanie Fisher" userId="4a8d9212-f9a0-4b32-979f-fab227be859c" providerId="ADAL" clId="{155A6597-D97D-4D7D-8EB9-8717E9142120}" dt="2022-10-14T16:18:58.007" v="7" actId="26606"/>
          <ac:spMkLst>
            <pc:docMk/>
            <pc:sldMk cId="2227147202" sldId="313"/>
            <ac:spMk id="224" creationId="{665DBBEF-238B-476B-96AB-8AAC3224ECEA}"/>
          </ac:spMkLst>
        </pc:spChg>
        <pc:spChg chg="add del">
          <ac:chgData name="Stephanie Fisher" userId="4a8d9212-f9a0-4b32-979f-fab227be859c" providerId="ADAL" clId="{155A6597-D97D-4D7D-8EB9-8717E9142120}" dt="2022-10-14T16:18:58.007" v="7" actId="26606"/>
          <ac:spMkLst>
            <pc:docMk/>
            <pc:sldMk cId="2227147202" sldId="313"/>
            <ac:spMk id="226" creationId="{3FCFB1DE-0B7E-48CC-BA90-B2AB0889F9D6}"/>
          </ac:spMkLst>
        </pc:spChg>
        <pc:spChg chg="add del">
          <ac:chgData name="Stephanie Fisher" userId="4a8d9212-f9a0-4b32-979f-fab227be859c" providerId="ADAL" clId="{155A6597-D97D-4D7D-8EB9-8717E9142120}" dt="2022-10-14T16:18:46.445" v="6" actId="26606"/>
          <ac:spMkLst>
            <pc:docMk/>
            <pc:sldMk cId="2227147202" sldId="313"/>
            <ac:spMk id="1031" creationId="{37C89E4B-3C9F-44B9-8B86-D9E3D112D8EC}"/>
          </ac:spMkLst>
        </pc:spChg>
        <pc:picChg chg="mod ord">
          <ac:chgData name="Stephanie Fisher" userId="4a8d9212-f9a0-4b32-979f-fab227be859c" providerId="ADAL" clId="{155A6597-D97D-4D7D-8EB9-8717E9142120}" dt="2022-10-14T16:19:11.940" v="12" actId="1076"/>
          <ac:picMkLst>
            <pc:docMk/>
            <pc:sldMk cId="2227147202" sldId="313"/>
            <ac:picMk id="1026" creationId="{54C5DE7D-C033-966B-D07F-7F099528DB9E}"/>
          </ac:picMkLst>
        </pc:picChg>
        <pc:cxnChg chg="add del">
          <ac:chgData name="Stephanie Fisher" userId="4a8d9212-f9a0-4b32-979f-fab227be859c" providerId="ADAL" clId="{155A6597-D97D-4D7D-8EB9-8717E9142120}" dt="2022-10-14T16:18:46.445" v="6" actId="26606"/>
          <ac:cxnSpMkLst>
            <pc:docMk/>
            <pc:sldMk cId="2227147202" sldId="313"/>
            <ac:cxnSpMk id="1033" creationId="{AA2EAA10-076F-46BD-8F0F-B9A2FB77A85C}"/>
          </ac:cxnSpMkLst>
        </pc:cxnChg>
        <pc:cxnChg chg="add del">
          <ac:chgData name="Stephanie Fisher" userId="4a8d9212-f9a0-4b32-979f-fab227be859c" providerId="ADAL" clId="{155A6597-D97D-4D7D-8EB9-8717E9142120}" dt="2022-10-14T16:18:46.445" v="6" actId="26606"/>
          <ac:cxnSpMkLst>
            <pc:docMk/>
            <pc:sldMk cId="2227147202" sldId="313"/>
            <ac:cxnSpMk id="1035" creationId="{D891E407-403B-4764-86C9-33A56D3BCAA3}"/>
          </ac:cxnSpMkLst>
        </pc:cxnChg>
      </pc:sldChg>
      <pc:sldChg chg="delSp modSp mod setBg">
        <pc:chgData name="Stephanie Fisher" userId="4a8d9212-f9a0-4b32-979f-fab227be859c" providerId="ADAL" clId="{155A6597-D97D-4D7D-8EB9-8717E9142120}" dt="2023-01-26T21:47:58.452" v="185" actId="478"/>
        <pc:sldMkLst>
          <pc:docMk/>
          <pc:sldMk cId="2005301438" sldId="326"/>
        </pc:sldMkLst>
        <pc:spChg chg="mod">
          <ac:chgData name="Stephanie Fisher" userId="4a8d9212-f9a0-4b32-979f-fab227be859c" providerId="ADAL" clId="{155A6597-D97D-4D7D-8EB9-8717E9142120}" dt="2023-01-26T21:46:12.392" v="152" actId="113"/>
          <ac:spMkLst>
            <pc:docMk/>
            <pc:sldMk cId="2005301438" sldId="326"/>
            <ac:spMk id="98" creationId="{00000000-0000-0000-0000-000000000000}"/>
          </ac:spMkLst>
        </pc:spChg>
        <pc:picChg chg="del">
          <ac:chgData name="Stephanie Fisher" userId="4a8d9212-f9a0-4b32-979f-fab227be859c" providerId="ADAL" clId="{155A6597-D97D-4D7D-8EB9-8717E9142120}" dt="2023-01-26T21:47:58.452" v="185" actId="478"/>
          <ac:picMkLst>
            <pc:docMk/>
            <pc:sldMk cId="2005301438" sldId="326"/>
            <ac:picMk id="2" creationId="{AE6D95B3-4C70-43B4-8776-22E69A9FDA36}"/>
          </ac:picMkLst>
        </pc:picChg>
      </pc:sldChg>
      <pc:sldChg chg="addSp delSp modSp mod">
        <pc:chgData name="Stephanie Fisher" userId="4a8d9212-f9a0-4b32-979f-fab227be859c" providerId="ADAL" clId="{155A6597-D97D-4D7D-8EB9-8717E9142120}" dt="2023-01-31T19:26:33.904" v="306" actId="1076"/>
        <pc:sldMkLst>
          <pc:docMk/>
          <pc:sldMk cId="1507993503" sldId="328"/>
        </pc:sldMkLst>
        <pc:spChg chg="mod">
          <ac:chgData name="Stephanie Fisher" userId="4a8d9212-f9a0-4b32-979f-fab227be859c" providerId="ADAL" clId="{155A6597-D97D-4D7D-8EB9-8717E9142120}" dt="2023-01-31T19:25:43.502" v="302" actId="6549"/>
          <ac:spMkLst>
            <pc:docMk/>
            <pc:sldMk cId="1507993503" sldId="328"/>
            <ac:spMk id="4" creationId="{B738983D-A292-2C14-BE75-8360967D32E6}"/>
          </ac:spMkLst>
        </pc:spChg>
        <pc:picChg chg="add del mod">
          <ac:chgData name="Stephanie Fisher" userId="4a8d9212-f9a0-4b32-979f-fab227be859c" providerId="ADAL" clId="{155A6597-D97D-4D7D-8EB9-8717E9142120}" dt="2023-01-31T19:25:40.299" v="301" actId="478"/>
          <ac:picMkLst>
            <pc:docMk/>
            <pc:sldMk cId="1507993503" sldId="328"/>
            <ac:picMk id="5" creationId="{710CC7A7-19E5-49A6-64E4-AF0F92E3026C}"/>
          </ac:picMkLst>
        </pc:picChg>
        <pc:picChg chg="add mod">
          <ac:chgData name="Stephanie Fisher" userId="4a8d9212-f9a0-4b32-979f-fab227be859c" providerId="ADAL" clId="{155A6597-D97D-4D7D-8EB9-8717E9142120}" dt="2023-01-31T19:26:33.904" v="306" actId="1076"/>
          <ac:picMkLst>
            <pc:docMk/>
            <pc:sldMk cId="1507993503" sldId="328"/>
            <ac:picMk id="6" creationId="{4CA1206E-C723-0C1D-487F-E8916FBAE239}"/>
          </ac:picMkLst>
        </pc:picChg>
      </pc:sldChg>
      <pc:sldChg chg="delSp modSp mod">
        <pc:chgData name="Stephanie Fisher" userId="4a8d9212-f9a0-4b32-979f-fab227be859c" providerId="ADAL" clId="{155A6597-D97D-4D7D-8EB9-8717E9142120}" dt="2022-11-03T16:42:23.490" v="139" actId="6549"/>
        <pc:sldMkLst>
          <pc:docMk/>
          <pc:sldMk cId="25292926" sldId="341"/>
        </pc:sldMkLst>
        <pc:spChg chg="mod">
          <ac:chgData name="Stephanie Fisher" userId="4a8d9212-f9a0-4b32-979f-fab227be859c" providerId="ADAL" clId="{155A6597-D97D-4D7D-8EB9-8717E9142120}" dt="2022-11-03T16:42:23.490" v="139" actId="6549"/>
          <ac:spMkLst>
            <pc:docMk/>
            <pc:sldMk cId="25292926" sldId="341"/>
            <ac:spMk id="3" creationId="{F39CB079-B8E4-548F-5095-EBD0012BFF90}"/>
          </ac:spMkLst>
        </pc:spChg>
        <pc:spChg chg="mod">
          <ac:chgData name="Stephanie Fisher" userId="4a8d9212-f9a0-4b32-979f-fab227be859c" providerId="ADAL" clId="{155A6597-D97D-4D7D-8EB9-8717E9142120}" dt="2022-11-03T16:42:03.061" v="134" actId="1076"/>
          <ac:spMkLst>
            <pc:docMk/>
            <pc:sldMk cId="25292926" sldId="341"/>
            <ac:spMk id="230" creationId="{00000000-0000-0000-0000-000000000000}"/>
          </ac:spMkLst>
        </pc:spChg>
        <pc:picChg chg="del mod">
          <ac:chgData name="Stephanie Fisher" userId="4a8d9212-f9a0-4b32-979f-fab227be859c" providerId="ADAL" clId="{155A6597-D97D-4D7D-8EB9-8717E9142120}" dt="2022-11-03T16:41:54.699" v="131" actId="478"/>
          <ac:picMkLst>
            <pc:docMk/>
            <pc:sldMk cId="25292926" sldId="341"/>
            <ac:picMk id="9" creationId="{D304D150-A75C-44DC-9E1E-B5CD86F927B7}"/>
          </ac:picMkLst>
        </pc:picChg>
      </pc:sldChg>
      <pc:sldChg chg="modSp mod">
        <pc:chgData name="Stephanie Fisher" userId="4a8d9212-f9a0-4b32-979f-fab227be859c" providerId="ADAL" clId="{155A6597-D97D-4D7D-8EB9-8717E9142120}" dt="2022-11-03T16:43:10.487" v="140" actId="14100"/>
        <pc:sldMkLst>
          <pc:docMk/>
          <pc:sldMk cId="861857484" sldId="345"/>
        </pc:sldMkLst>
        <pc:spChg chg="mod">
          <ac:chgData name="Stephanie Fisher" userId="4a8d9212-f9a0-4b32-979f-fab227be859c" providerId="ADAL" clId="{155A6597-D97D-4D7D-8EB9-8717E9142120}" dt="2022-11-03T16:43:10.487" v="140" actId="14100"/>
          <ac:spMkLst>
            <pc:docMk/>
            <pc:sldMk cId="861857484" sldId="345"/>
            <ac:spMk id="5" creationId="{36CEAC81-7E0C-EE6A-BDBE-5A0A55B14776}"/>
          </ac:spMkLst>
        </pc:spChg>
      </pc:sldChg>
      <pc:sldChg chg="modSp mod">
        <pc:chgData name="Stephanie Fisher" userId="4a8d9212-f9a0-4b32-979f-fab227be859c" providerId="ADAL" clId="{155A6597-D97D-4D7D-8EB9-8717E9142120}" dt="2022-11-03T16:29:02.701" v="20" actId="20577"/>
        <pc:sldMkLst>
          <pc:docMk/>
          <pc:sldMk cId="917625855" sldId="347"/>
        </pc:sldMkLst>
        <pc:spChg chg="mod">
          <ac:chgData name="Stephanie Fisher" userId="4a8d9212-f9a0-4b32-979f-fab227be859c" providerId="ADAL" clId="{155A6597-D97D-4D7D-8EB9-8717E9142120}" dt="2022-11-03T16:29:02.701" v="20" actId="20577"/>
          <ac:spMkLst>
            <pc:docMk/>
            <pc:sldMk cId="917625855" sldId="347"/>
            <ac:spMk id="113" creationId="{00000000-0000-0000-0000-000000000000}"/>
          </ac:spMkLst>
        </pc:spChg>
      </pc:sldChg>
      <pc:sldChg chg="addSp delSp modSp add mod setBg">
        <pc:chgData name="Stephanie Fisher" userId="4a8d9212-f9a0-4b32-979f-fab227be859c" providerId="ADAL" clId="{155A6597-D97D-4D7D-8EB9-8717E9142120}" dt="2023-01-31T19:30:45.854" v="327" actId="1076"/>
        <pc:sldMkLst>
          <pc:docMk/>
          <pc:sldMk cId="1842672227" sldId="353"/>
        </pc:sldMkLst>
        <pc:spChg chg="add mod">
          <ac:chgData name="Stephanie Fisher" userId="4a8d9212-f9a0-4b32-979f-fab227be859c" providerId="ADAL" clId="{155A6597-D97D-4D7D-8EB9-8717E9142120}" dt="2023-01-31T19:30:36.492" v="324" actId="1076"/>
          <ac:spMkLst>
            <pc:docMk/>
            <pc:sldMk cId="1842672227" sldId="353"/>
            <ac:spMk id="3" creationId="{B6E79891-D7F7-1857-5316-76A028B6E13A}"/>
          </ac:spMkLst>
        </pc:spChg>
        <pc:spChg chg="del">
          <ac:chgData name="Stephanie Fisher" userId="4a8d9212-f9a0-4b32-979f-fab227be859c" providerId="ADAL" clId="{155A6597-D97D-4D7D-8EB9-8717E9142120}" dt="2023-01-31T17:37:23.119" v="206" actId="21"/>
          <ac:spMkLst>
            <pc:docMk/>
            <pc:sldMk cId="1842672227" sldId="353"/>
            <ac:spMk id="3" creationId="{F39CB079-B8E4-548F-5095-EBD0012BFF90}"/>
          </ac:spMkLst>
        </pc:spChg>
        <pc:spChg chg="add del mod">
          <ac:chgData name="Stephanie Fisher" userId="4a8d9212-f9a0-4b32-979f-fab227be859c" providerId="ADAL" clId="{155A6597-D97D-4D7D-8EB9-8717E9142120}" dt="2023-01-31T18:32:34.348" v="215" actId="21"/>
          <ac:spMkLst>
            <pc:docMk/>
            <pc:sldMk cId="1842672227" sldId="353"/>
            <ac:spMk id="4" creationId="{4A59C700-3B92-9BB5-D7AC-FE102271DB0E}"/>
          </ac:spMkLst>
        </pc:spChg>
        <pc:spChg chg="add del mod">
          <ac:chgData name="Stephanie Fisher" userId="4a8d9212-f9a0-4b32-979f-fab227be859c" providerId="ADAL" clId="{155A6597-D97D-4D7D-8EB9-8717E9142120}" dt="2023-01-31T17:37:17.037" v="204" actId="21"/>
          <ac:spMkLst>
            <pc:docMk/>
            <pc:sldMk cId="1842672227" sldId="353"/>
            <ac:spMk id="6" creationId="{38295D4B-8CE2-E946-BE2B-6F574938A03B}"/>
          </ac:spMkLst>
        </pc:spChg>
        <pc:spChg chg="add del mod">
          <ac:chgData name="Stephanie Fisher" userId="4a8d9212-f9a0-4b32-979f-fab227be859c" providerId="ADAL" clId="{155A6597-D97D-4D7D-8EB9-8717E9142120}" dt="2023-01-31T18:32:38.273" v="216" actId="21"/>
          <ac:spMkLst>
            <pc:docMk/>
            <pc:sldMk cId="1842672227" sldId="353"/>
            <ac:spMk id="8" creationId="{4C3B089B-4D96-98D4-0BA2-7F400A05F4FF}"/>
          </ac:spMkLst>
        </pc:spChg>
        <pc:spChg chg="del">
          <ac:chgData name="Stephanie Fisher" userId="4a8d9212-f9a0-4b32-979f-fab227be859c" providerId="ADAL" clId="{155A6597-D97D-4D7D-8EB9-8717E9142120}" dt="2023-01-31T17:37:07.920" v="201" actId="21"/>
          <ac:spMkLst>
            <pc:docMk/>
            <pc:sldMk cId="1842672227" sldId="353"/>
            <ac:spMk id="228" creationId="{00000000-0000-0000-0000-000000000000}"/>
          </ac:spMkLst>
        </pc:spChg>
        <pc:spChg chg="del">
          <ac:chgData name="Stephanie Fisher" userId="4a8d9212-f9a0-4b32-979f-fab227be859c" providerId="ADAL" clId="{155A6597-D97D-4D7D-8EB9-8717E9142120}" dt="2023-01-31T17:37:10.719" v="202" actId="21"/>
          <ac:spMkLst>
            <pc:docMk/>
            <pc:sldMk cId="1842672227" sldId="353"/>
            <ac:spMk id="229" creationId="{00000000-0000-0000-0000-000000000000}"/>
          </ac:spMkLst>
        </pc:spChg>
        <pc:spChg chg="del">
          <ac:chgData name="Stephanie Fisher" userId="4a8d9212-f9a0-4b32-979f-fab227be859c" providerId="ADAL" clId="{155A6597-D97D-4D7D-8EB9-8717E9142120}" dt="2023-01-31T17:37:20.003" v="205" actId="21"/>
          <ac:spMkLst>
            <pc:docMk/>
            <pc:sldMk cId="1842672227" sldId="353"/>
            <ac:spMk id="230" creationId="{00000000-0000-0000-0000-000000000000}"/>
          </ac:spMkLst>
        </pc:spChg>
        <pc:spChg chg="del">
          <ac:chgData name="Stephanie Fisher" userId="4a8d9212-f9a0-4b32-979f-fab227be859c" providerId="ADAL" clId="{155A6597-D97D-4D7D-8EB9-8717E9142120}" dt="2023-01-31T17:37:14.246" v="203" actId="21"/>
          <ac:spMkLst>
            <pc:docMk/>
            <pc:sldMk cId="1842672227" sldId="353"/>
            <ac:spMk id="231" creationId="{00000000-0000-0000-0000-000000000000}"/>
          </ac:spMkLst>
        </pc:spChg>
        <pc:spChg chg="del mod">
          <ac:chgData name="Stephanie Fisher" userId="4a8d9212-f9a0-4b32-979f-fab227be859c" providerId="ADAL" clId="{155A6597-D97D-4D7D-8EB9-8717E9142120}" dt="2023-01-31T17:37:05.158" v="200" actId="21"/>
          <ac:spMkLst>
            <pc:docMk/>
            <pc:sldMk cId="1842672227" sldId="353"/>
            <ac:spMk id="232" creationId="{00000000-0000-0000-0000-000000000000}"/>
          </ac:spMkLst>
        </pc:spChg>
        <pc:spChg chg="mod">
          <ac:chgData name="Stephanie Fisher" userId="4a8d9212-f9a0-4b32-979f-fab227be859c" providerId="ADAL" clId="{155A6597-D97D-4D7D-8EB9-8717E9142120}" dt="2023-01-31T19:24:07.170" v="278" actId="20577"/>
          <ac:spMkLst>
            <pc:docMk/>
            <pc:sldMk cId="1842672227" sldId="353"/>
            <ac:spMk id="234" creationId="{00000000-0000-0000-0000-000000000000}"/>
          </ac:spMkLst>
        </pc:spChg>
        <pc:spChg chg="add">
          <ac:chgData name="Stephanie Fisher" userId="4a8d9212-f9a0-4b32-979f-fab227be859c" providerId="ADAL" clId="{155A6597-D97D-4D7D-8EB9-8717E9142120}" dt="2023-01-31T19:21:36.717" v="254" actId="26606"/>
          <ac:spMkLst>
            <pc:docMk/>
            <pc:sldMk cId="1842672227" sldId="353"/>
            <ac:spMk id="236" creationId="{D12DDE76-C203-4047-9998-63900085B5E8}"/>
          </ac:spMkLst>
        </pc:spChg>
        <pc:spChg chg="add del">
          <ac:chgData name="Stephanie Fisher" userId="4a8d9212-f9a0-4b32-979f-fab227be859c" providerId="ADAL" clId="{155A6597-D97D-4D7D-8EB9-8717E9142120}" dt="2023-01-31T19:19:30.422" v="244" actId="26606"/>
          <ac:spMkLst>
            <pc:docMk/>
            <pc:sldMk cId="1842672227" sldId="353"/>
            <ac:spMk id="239" creationId="{1825AC39-5F85-4CAA-8A81-A1287086B2B6}"/>
          </ac:spMkLst>
        </pc:spChg>
        <pc:spChg chg="add del">
          <ac:chgData name="Stephanie Fisher" userId="4a8d9212-f9a0-4b32-979f-fab227be859c" providerId="ADAL" clId="{155A6597-D97D-4D7D-8EB9-8717E9142120}" dt="2023-01-31T19:19:30.422" v="244" actId="26606"/>
          <ac:spMkLst>
            <pc:docMk/>
            <pc:sldMk cId="1842672227" sldId="353"/>
            <ac:spMk id="241" creationId="{95DA4D23-37FC-4B90-8188-F0377C5FF44B}"/>
          </ac:spMkLst>
        </pc:spChg>
        <pc:spChg chg="add del">
          <ac:chgData name="Stephanie Fisher" userId="4a8d9212-f9a0-4b32-979f-fab227be859c" providerId="ADAL" clId="{155A6597-D97D-4D7D-8EB9-8717E9142120}" dt="2023-01-31T19:19:30.422" v="244" actId="26606"/>
          <ac:spMkLst>
            <pc:docMk/>
            <pc:sldMk cId="1842672227" sldId="353"/>
            <ac:spMk id="243" creationId="{A7A4B465-FBCC-4CD4-89A1-82992A7B47FF}"/>
          </ac:spMkLst>
        </pc:spChg>
        <pc:spChg chg="add del">
          <ac:chgData name="Stephanie Fisher" userId="4a8d9212-f9a0-4b32-979f-fab227be859c" providerId="ADAL" clId="{155A6597-D97D-4D7D-8EB9-8717E9142120}" dt="2023-01-31T19:19:30.422" v="244" actId="26606"/>
          <ac:spMkLst>
            <pc:docMk/>
            <pc:sldMk cId="1842672227" sldId="353"/>
            <ac:spMk id="245" creationId="{909E572F-9CDC-4214-9D42-FF0017649590}"/>
          </ac:spMkLst>
        </pc:spChg>
        <pc:graphicFrameChg chg="add del mod modGraphic">
          <ac:chgData name="Stephanie Fisher" userId="4a8d9212-f9a0-4b32-979f-fab227be859c" providerId="ADAL" clId="{155A6597-D97D-4D7D-8EB9-8717E9142120}" dt="2023-01-31T18:33:25.343" v="223" actId="478"/>
          <ac:graphicFrameMkLst>
            <pc:docMk/>
            <pc:sldMk cId="1842672227" sldId="353"/>
            <ac:graphicFrameMk id="9" creationId="{8B34D3FC-4273-2776-038E-878ECFC1D62B}"/>
          </ac:graphicFrameMkLst>
        </pc:graphicFrameChg>
        <pc:graphicFrameChg chg="add del mod modGraphic">
          <ac:chgData name="Stephanie Fisher" userId="4a8d9212-f9a0-4b32-979f-fab227be859c" providerId="ADAL" clId="{155A6597-D97D-4D7D-8EB9-8717E9142120}" dt="2023-01-31T18:34:29.302" v="227" actId="478"/>
          <ac:graphicFrameMkLst>
            <pc:docMk/>
            <pc:sldMk cId="1842672227" sldId="353"/>
            <ac:graphicFrameMk id="10" creationId="{0184A88E-280B-B5BB-5B27-43F4F692ACD7}"/>
          </ac:graphicFrameMkLst>
        </pc:graphicFrameChg>
        <pc:graphicFrameChg chg="add del mod">
          <ac:chgData name="Stephanie Fisher" userId="4a8d9212-f9a0-4b32-979f-fab227be859c" providerId="ADAL" clId="{155A6597-D97D-4D7D-8EB9-8717E9142120}" dt="2023-01-31T18:36:01.991" v="230" actId="478"/>
          <ac:graphicFrameMkLst>
            <pc:docMk/>
            <pc:sldMk cId="1842672227" sldId="353"/>
            <ac:graphicFrameMk id="11" creationId="{6A279138-FACE-8C0F-01AA-183A902C8A3F}"/>
          </ac:graphicFrameMkLst>
        </pc:graphicFrameChg>
        <pc:picChg chg="add del mod">
          <ac:chgData name="Stephanie Fisher" userId="4a8d9212-f9a0-4b32-979f-fab227be859c" providerId="ADAL" clId="{155A6597-D97D-4D7D-8EB9-8717E9142120}" dt="2023-01-31T19:19:34.459" v="246"/>
          <ac:picMkLst>
            <pc:docMk/>
            <pc:sldMk cId="1842672227" sldId="353"/>
            <ac:picMk id="13" creationId="{4161AACC-5DE7-3092-961B-AED8C4EBC30C}"/>
          </ac:picMkLst>
        </pc:picChg>
        <pc:picChg chg="add mod">
          <ac:chgData name="Stephanie Fisher" userId="4a8d9212-f9a0-4b32-979f-fab227be859c" providerId="ADAL" clId="{155A6597-D97D-4D7D-8EB9-8717E9142120}" dt="2023-01-31T19:30:45.854" v="327" actId="1076"/>
          <ac:picMkLst>
            <pc:docMk/>
            <pc:sldMk cId="1842672227" sldId="353"/>
            <ac:picMk id="15" creationId="{ECA7648A-841B-A173-192C-2C3C0730CDEF}"/>
          </ac:picMkLst>
        </pc:picChg>
      </pc:sldChg>
      <pc:sldChg chg="delSp modSp add del mod setBg delDesignElem">
        <pc:chgData name="Stephanie Fisher" userId="4a8d9212-f9a0-4b32-979f-fab227be859c" providerId="ADAL" clId="{155A6597-D97D-4D7D-8EB9-8717E9142120}" dt="2022-11-03T16:35:49.989" v="40" actId="2696"/>
        <pc:sldMkLst>
          <pc:docMk/>
          <pc:sldMk cId="3689059043" sldId="353"/>
        </pc:sldMkLst>
        <pc:spChg chg="mod">
          <ac:chgData name="Stephanie Fisher" userId="4a8d9212-f9a0-4b32-979f-fab227be859c" providerId="ADAL" clId="{155A6597-D97D-4D7D-8EB9-8717E9142120}" dt="2022-11-03T16:35:18.715" v="35" actId="21"/>
          <ac:spMkLst>
            <pc:docMk/>
            <pc:sldMk cId="3689059043" sldId="353"/>
            <ac:spMk id="113" creationId="{00000000-0000-0000-0000-000000000000}"/>
          </ac:spMkLst>
        </pc:spChg>
        <pc:spChg chg="del">
          <ac:chgData name="Stephanie Fisher" userId="4a8d9212-f9a0-4b32-979f-fab227be859c" providerId="ADAL" clId="{155A6597-D97D-4D7D-8EB9-8717E9142120}" dt="2022-11-03T16:34:03.685" v="31"/>
          <ac:spMkLst>
            <pc:docMk/>
            <pc:sldMk cId="3689059043" sldId="353"/>
            <ac:spMk id="128" creationId="{A6D37EE4-EA1B-46EE-A54B-5233C63C9695}"/>
          </ac:spMkLst>
        </pc:spChg>
        <pc:spChg chg="del">
          <ac:chgData name="Stephanie Fisher" userId="4a8d9212-f9a0-4b32-979f-fab227be859c" providerId="ADAL" clId="{155A6597-D97D-4D7D-8EB9-8717E9142120}" dt="2022-11-03T16:34:03.685" v="31"/>
          <ac:spMkLst>
            <pc:docMk/>
            <pc:sldMk cId="3689059043" sldId="353"/>
            <ac:spMk id="130" creationId="{927D5270-6648-4CC1-8F78-48BE299CAC25}"/>
          </ac:spMkLst>
        </pc:spChg>
        <pc:picChg chg="del">
          <ac:chgData name="Stephanie Fisher" userId="4a8d9212-f9a0-4b32-979f-fab227be859c" providerId="ADAL" clId="{155A6597-D97D-4D7D-8EB9-8717E9142120}" dt="2022-11-03T16:34:17.023" v="32" actId="478"/>
          <ac:picMkLst>
            <pc:docMk/>
            <pc:sldMk cId="3689059043" sldId="353"/>
            <ac:picMk id="2" creationId="{1A568EF9-F082-4E00-9F49-CD58BBCAD048}"/>
          </ac:picMkLst>
        </pc:picChg>
      </pc:sldChg>
      <pc:sldChg chg="add del">
        <pc:chgData name="Stephanie Fisher" userId="4a8d9212-f9a0-4b32-979f-fab227be859c" providerId="ADAL" clId="{155A6597-D97D-4D7D-8EB9-8717E9142120}" dt="2022-11-03T16:37:16.098" v="45" actId="2696"/>
        <pc:sldMkLst>
          <pc:docMk/>
          <pc:sldMk cId="4141451377" sldId="354"/>
        </pc:sldMkLst>
      </pc:sldChg>
    </pc:docChg>
  </pc:docChgLst>
  <pc:docChgLst>
    <pc:chgData name="Guest User" userId="S::urn:spo:anon#8599c54ba24779f655a4039443b833457fa2f9138fb5aced0ca30efd9ff5390c::" providerId="AD" clId="Web-{DA5FC5D1-55D3-4B6B-B87B-0D6F5406EBB0}"/>
    <pc:docChg chg="modSld">
      <pc:chgData name="Guest User" userId="S::urn:spo:anon#8599c54ba24779f655a4039443b833457fa2f9138fb5aced0ca30efd9ff5390c::" providerId="AD" clId="Web-{DA5FC5D1-55D3-4B6B-B87B-0D6F5406EBB0}" dt="2023-02-21T19:21:02.680" v="1" actId="1076"/>
      <pc:docMkLst>
        <pc:docMk/>
      </pc:docMkLst>
      <pc:sldChg chg="modSp">
        <pc:chgData name="Guest User" userId="S::urn:spo:anon#8599c54ba24779f655a4039443b833457fa2f9138fb5aced0ca30efd9ff5390c::" providerId="AD" clId="Web-{DA5FC5D1-55D3-4B6B-B87B-0D6F5406EBB0}" dt="2023-02-21T19:21:02.680" v="1" actId="1076"/>
        <pc:sldMkLst>
          <pc:docMk/>
          <pc:sldMk cId="1842672227" sldId="353"/>
        </pc:sldMkLst>
        <pc:picChg chg="mod">
          <ac:chgData name="Guest User" userId="S::urn:spo:anon#8599c54ba24779f655a4039443b833457fa2f9138fb5aced0ca30efd9ff5390c::" providerId="AD" clId="Web-{DA5FC5D1-55D3-4B6B-B87B-0D6F5406EBB0}" dt="2023-02-21T19:21:02.680" v="1" actId="1076"/>
          <ac:picMkLst>
            <pc:docMk/>
            <pc:sldMk cId="1842672227" sldId="353"/>
            <ac:picMk id="15" creationId="{ECA7648A-841B-A173-192C-2C3C0730CDEF}"/>
          </ac:picMkLst>
        </pc:picChg>
      </pc:sldChg>
    </pc:docChg>
  </pc:docChgLst>
  <pc:docChgLst>
    <pc:chgData name="Stephanie Fisher" userId="4a8d9212-f9a0-4b32-979f-fab227be859c" providerId="ADAL" clId="{69E9E868-23A9-4691-AE10-ADB75BDEA608}"/>
    <pc:docChg chg="undo custSel addSld delSld modSld sldOrd modSection">
      <pc:chgData name="Stephanie Fisher" userId="4a8d9212-f9a0-4b32-979f-fab227be859c" providerId="ADAL" clId="{69E9E868-23A9-4691-AE10-ADB75BDEA608}" dt="2023-03-10T21:02:26.339" v="821" actId="1076"/>
      <pc:docMkLst>
        <pc:docMk/>
      </pc:docMkLst>
      <pc:sldChg chg="del">
        <pc:chgData name="Stephanie Fisher" userId="4a8d9212-f9a0-4b32-979f-fab227be859c" providerId="ADAL" clId="{69E9E868-23A9-4691-AE10-ADB75BDEA608}" dt="2023-03-10T19:13:10.372" v="681" actId="47"/>
        <pc:sldMkLst>
          <pc:docMk/>
          <pc:sldMk cId="0" sldId="256"/>
        </pc:sldMkLst>
      </pc:sldChg>
      <pc:sldChg chg="del">
        <pc:chgData name="Stephanie Fisher" userId="4a8d9212-f9a0-4b32-979f-fab227be859c" providerId="ADAL" clId="{69E9E868-23A9-4691-AE10-ADB75BDEA608}" dt="2023-03-10T19:13:11.938" v="684" actId="47"/>
        <pc:sldMkLst>
          <pc:docMk/>
          <pc:sldMk cId="0" sldId="261"/>
        </pc:sldMkLst>
      </pc:sldChg>
      <pc:sldChg chg="del">
        <pc:chgData name="Stephanie Fisher" userId="4a8d9212-f9a0-4b32-979f-fab227be859c" providerId="ADAL" clId="{69E9E868-23A9-4691-AE10-ADB75BDEA608}" dt="2023-03-10T19:13:51.833" v="686" actId="47"/>
        <pc:sldMkLst>
          <pc:docMk/>
          <pc:sldMk cId="0" sldId="263"/>
        </pc:sldMkLst>
      </pc:sldChg>
      <pc:sldChg chg="del">
        <pc:chgData name="Stephanie Fisher" userId="4a8d9212-f9a0-4b32-979f-fab227be859c" providerId="ADAL" clId="{69E9E868-23A9-4691-AE10-ADB75BDEA608}" dt="2023-03-10T19:14:02.734" v="694" actId="47"/>
        <pc:sldMkLst>
          <pc:docMk/>
          <pc:sldMk cId="0" sldId="267"/>
        </pc:sldMkLst>
      </pc:sldChg>
      <pc:sldChg chg="del">
        <pc:chgData name="Stephanie Fisher" userId="4a8d9212-f9a0-4b32-979f-fab227be859c" providerId="ADAL" clId="{69E9E868-23A9-4691-AE10-ADB75BDEA608}" dt="2023-03-10T19:14:32.299" v="713" actId="47"/>
        <pc:sldMkLst>
          <pc:docMk/>
          <pc:sldMk cId="0" sldId="273"/>
        </pc:sldMkLst>
      </pc:sldChg>
      <pc:sldChg chg="ord">
        <pc:chgData name="Stephanie Fisher" userId="4a8d9212-f9a0-4b32-979f-fab227be859c" providerId="ADAL" clId="{69E9E868-23A9-4691-AE10-ADB75BDEA608}" dt="2023-03-10T19:12:32.337" v="680"/>
        <pc:sldMkLst>
          <pc:docMk/>
          <pc:sldMk cId="0" sldId="279"/>
        </pc:sldMkLst>
      </pc:sldChg>
      <pc:sldChg chg="del">
        <pc:chgData name="Stephanie Fisher" userId="4a8d9212-f9a0-4b32-979f-fab227be859c" providerId="ADAL" clId="{69E9E868-23A9-4691-AE10-ADB75BDEA608}" dt="2023-03-10T19:13:52.352" v="687" actId="47"/>
        <pc:sldMkLst>
          <pc:docMk/>
          <pc:sldMk cId="687132970" sldId="284"/>
        </pc:sldMkLst>
      </pc:sldChg>
      <pc:sldChg chg="del">
        <pc:chgData name="Stephanie Fisher" userId="4a8d9212-f9a0-4b32-979f-fab227be859c" providerId="ADAL" clId="{69E9E868-23A9-4691-AE10-ADB75BDEA608}" dt="2023-03-10T19:14:03.139" v="695" actId="47"/>
        <pc:sldMkLst>
          <pc:docMk/>
          <pc:sldMk cId="1852989823" sldId="286"/>
        </pc:sldMkLst>
      </pc:sldChg>
      <pc:sldChg chg="del">
        <pc:chgData name="Stephanie Fisher" userId="4a8d9212-f9a0-4b32-979f-fab227be859c" providerId="ADAL" clId="{69E9E868-23A9-4691-AE10-ADB75BDEA608}" dt="2023-03-10T19:14:03.911" v="697" actId="47"/>
        <pc:sldMkLst>
          <pc:docMk/>
          <pc:sldMk cId="4046620333" sldId="288"/>
        </pc:sldMkLst>
      </pc:sldChg>
      <pc:sldChg chg="del">
        <pc:chgData name="Stephanie Fisher" userId="4a8d9212-f9a0-4b32-979f-fab227be859c" providerId="ADAL" clId="{69E9E868-23A9-4691-AE10-ADB75BDEA608}" dt="2023-03-10T19:14:03.522" v="696" actId="47"/>
        <pc:sldMkLst>
          <pc:docMk/>
          <pc:sldMk cId="2885707917" sldId="289"/>
        </pc:sldMkLst>
      </pc:sldChg>
      <pc:sldChg chg="del">
        <pc:chgData name="Stephanie Fisher" userId="4a8d9212-f9a0-4b32-979f-fab227be859c" providerId="ADAL" clId="{69E9E868-23A9-4691-AE10-ADB75BDEA608}" dt="2023-03-10T19:14:15.919" v="700" actId="47"/>
        <pc:sldMkLst>
          <pc:docMk/>
          <pc:sldMk cId="703817739" sldId="290"/>
        </pc:sldMkLst>
      </pc:sldChg>
      <pc:sldChg chg="del">
        <pc:chgData name="Stephanie Fisher" userId="4a8d9212-f9a0-4b32-979f-fab227be859c" providerId="ADAL" clId="{69E9E868-23A9-4691-AE10-ADB75BDEA608}" dt="2023-03-10T19:14:16.300" v="701" actId="47"/>
        <pc:sldMkLst>
          <pc:docMk/>
          <pc:sldMk cId="2713448014" sldId="291"/>
        </pc:sldMkLst>
      </pc:sldChg>
      <pc:sldChg chg="del">
        <pc:chgData name="Stephanie Fisher" userId="4a8d9212-f9a0-4b32-979f-fab227be859c" providerId="ADAL" clId="{69E9E868-23A9-4691-AE10-ADB75BDEA608}" dt="2023-03-10T19:14:17.351" v="702" actId="47"/>
        <pc:sldMkLst>
          <pc:docMk/>
          <pc:sldMk cId="1377157054" sldId="292"/>
        </pc:sldMkLst>
      </pc:sldChg>
      <pc:sldChg chg="del">
        <pc:chgData name="Stephanie Fisher" userId="4a8d9212-f9a0-4b32-979f-fab227be859c" providerId="ADAL" clId="{69E9E868-23A9-4691-AE10-ADB75BDEA608}" dt="2023-03-10T19:14:22.916" v="703" actId="47"/>
        <pc:sldMkLst>
          <pc:docMk/>
          <pc:sldMk cId="1414395498" sldId="293"/>
        </pc:sldMkLst>
      </pc:sldChg>
      <pc:sldChg chg="del">
        <pc:chgData name="Stephanie Fisher" userId="4a8d9212-f9a0-4b32-979f-fab227be859c" providerId="ADAL" clId="{69E9E868-23A9-4691-AE10-ADB75BDEA608}" dt="2023-03-10T19:14:09.310" v="698" actId="47"/>
        <pc:sldMkLst>
          <pc:docMk/>
          <pc:sldMk cId="1309937835" sldId="294"/>
        </pc:sldMkLst>
      </pc:sldChg>
      <pc:sldChg chg="del">
        <pc:chgData name="Stephanie Fisher" userId="4a8d9212-f9a0-4b32-979f-fab227be859c" providerId="ADAL" clId="{69E9E868-23A9-4691-AE10-ADB75BDEA608}" dt="2023-03-10T19:13:53.520" v="690" actId="47"/>
        <pc:sldMkLst>
          <pc:docMk/>
          <pc:sldMk cId="1833065145" sldId="295"/>
        </pc:sldMkLst>
      </pc:sldChg>
      <pc:sldChg chg="del">
        <pc:chgData name="Stephanie Fisher" userId="4a8d9212-f9a0-4b32-979f-fab227be859c" providerId="ADAL" clId="{69E9E868-23A9-4691-AE10-ADB75BDEA608}" dt="2023-03-10T19:14:23.571" v="704" actId="47"/>
        <pc:sldMkLst>
          <pc:docMk/>
          <pc:sldMk cId="3987612319" sldId="298"/>
        </pc:sldMkLst>
      </pc:sldChg>
      <pc:sldChg chg="del">
        <pc:chgData name="Stephanie Fisher" userId="4a8d9212-f9a0-4b32-979f-fab227be859c" providerId="ADAL" clId="{69E9E868-23A9-4691-AE10-ADB75BDEA608}" dt="2023-03-10T19:14:24.019" v="705" actId="47"/>
        <pc:sldMkLst>
          <pc:docMk/>
          <pc:sldMk cId="2699071140" sldId="299"/>
        </pc:sldMkLst>
      </pc:sldChg>
      <pc:sldChg chg="modSp del mod">
        <pc:chgData name="Stephanie Fisher" userId="4a8d9212-f9a0-4b32-979f-fab227be859c" providerId="ADAL" clId="{69E9E868-23A9-4691-AE10-ADB75BDEA608}" dt="2023-03-10T19:14:29.164" v="708" actId="47"/>
        <pc:sldMkLst>
          <pc:docMk/>
          <pc:sldMk cId="2275805231" sldId="300"/>
        </pc:sldMkLst>
        <pc:spChg chg="mod">
          <ac:chgData name="Stephanie Fisher" userId="4a8d9212-f9a0-4b32-979f-fab227be859c" providerId="ADAL" clId="{69E9E868-23A9-4691-AE10-ADB75BDEA608}" dt="2023-03-10T19:14:28.080" v="707" actId="6549"/>
          <ac:spMkLst>
            <pc:docMk/>
            <pc:sldMk cId="2275805231" sldId="300"/>
            <ac:spMk id="113" creationId="{00000000-0000-0000-0000-000000000000}"/>
          </ac:spMkLst>
        </pc:spChg>
      </pc:sldChg>
      <pc:sldChg chg="modSp del mod">
        <pc:chgData name="Stephanie Fisher" userId="4a8d9212-f9a0-4b32-979f-fab227be859c" providerId="ADAL" clId="{69E9E868-23A9-4691-AE10-ADB75BDEA608}" dt="2023-03-10T19:14:29.599" v="709" actId="47"/>
        <pc:sldMkLst>
          <pc:docMk/>
          <pc:sldMk cId="120288415" sldId="301"/>
        </pc:sldMkLst>
        <pc:spChg chg="mod">
          <ac:chgData name="Stephanie Fisher" userId="4a8d9212-f9a0-4b32-979f-fab227be859c" providerId="ADAL" clId="{69E9E868-23A9-4691-AE10-ADB75BDEA608}" dt="2023-02-06T17:35:46.373" v="33" actId="20577"/>
          <ac:spMkLst>
            <pc:docMk/>
            <pc:sldMk cId="120288415" sldId="301"/>
            <ac:spMk id="113" creationId="{00000000-0000-0000-0000-000000000000}"/>
          </ac:spMkLst>
        </pc:spChg>
      </pc:sldChg>
      <pc:sldChg chg="del">
        <pc:chgData name="Stephanie Fisher" userId="4a8d9212-f9a0-4b32-979f-fab227be859c" providerId="ADAL" clId="{69E9E868-23A9-4691-AE10-ADB75BDEA608}" dt="2023-03-10T19:14:30.041" v="710" actId="47"/>
        <pc:sldMkLst>
          <pc:docMk/>
          <pc:sldMk cId="795382138" sldId="302"/>
        </pc:sldMkLst>
      </pc:sldChg>
      <pc:sldChg chg="del">
        <pc:chgData name="Stephanie Fisher" userId="4a8d9212-f9a0-4b32-979f-fab227be859c" providerId="ADAL" clId="{69E9E868-23A9-4691-AE10-ADB75BDEA608}" dt="2023-03-10T19:14:15.416" v="699" actId="47"/>
        <pc:sldMkLst>
          <pc:docMk/>
          <pc:sldMk cId="2265287557" sldId="305"/>
        </pc:sldMkLst>
      </pc:sldChg>
      <pc:sldChg chg="del">
        <pc:chgData name="Stephanie Fisher" userId="4a8d9212-f9a0-4b32-979f-fab227be859c" providerId="ADAL" clId="{69E9E868-23A9-4691-AE10-ADB75BDEA608}" dt="2023-03-10T19:13:11.459" v="683" actId="47"/>
        <pc:sldMkLst>
          <pc:docMk/>
          <pc:sldMk cId="1501464332" sldId="312"/>
        </pc:sldMkLst>
      </pc:sldChg>
      <pc:sldChg chg="del">
        <pc:chgData name="Stephanie Fisher" userId="4a8d9212-f9a0-4b32-979f-fab227be859c" providerId="ADAL" clId="{69E9E868-23A9-4691-AE10-ADB75BDEA608}" dt="2023-03-10T19:13:40.769" v="685" actId="47"/>
        <pc:sldMkLst>
          <pc:docMk/>
          <pc:sldMk cId="2227147202" sldId="313"/>
        </pc:sldMkLst>
      </pc:sldChg>
      <pc:sldChg chg="del">
        <pc:chgData name="Stephanie Fisher" userId="4a8d9212-f9a0-4b32-979f-fab227be859c" providerId="ADAL" clId="{69E9E868-23A9-4691-AE10-ADB75BDEA608}" dt="2023-03-10T19:14:34.120" v="718" actId="47"/>
        <pc:sldMkLst>
          <pc:docMk/>
          <pc:sldMk cId="292782823" sldId="325"/>
        </pc:sldMkLst>
      </pc:sldChg>
      <pc:sldChg chg="del">
        <pc:chgData name="Stephanie Fisher" userId="4a8d9212-f9a0-4b32-979f-fab227be859c" providerId="ADAL" clId="{69E9E868-23A9-4691-AE10-ADB75BDEA608}" dt="2023-03-10T19:14:31.905" v="712" actId="47"/>
        <pc:sldMkLst>
          <pc:docMk/>
          <pc:sldMk cId="2005301438" sldId="326"/>
        </pc:sldMkLst>
      </pc:sldChg>
      <pc:sldChg chg="del">
        <pc:chgData name="Stephanie Fisher" userId="4a8d9212-f9a0-4b32-979f-fab227be859c" providerId="ADAL" clId="{69E9E868-23A9-4691-AE10-ADB75BDEA608}" dt="2023-03-10T19:14:33.400" v="716" actId="47"/>
        <pc:sldMkLst>
          <pc:docMk/>
          <pc:sldMk cId="1428106545" sldId="327"/>
        </pc:sldMkLst>
      </pc:sldChg>
      <pc:sldChg chg="del">
        <pc:chgData name="Stephanie Fisher" userId="4a8d9212-f9a0-4b32-979f-fab227be859c" providerId="ADAL" clId="{69E9E868-23A9-4691-AE10-ADB75BDEA608}" dt="2023-03-10T19:14:36.932" v="725" actId="47"/>
        <pc:sldMkLst>
          <pc:docMk/>
          <pc:sldMk cId="1507993503" sldId="328"/>
        </pc:sldMkLst>
      </pc:sldChg>
      <pc:sldChg chg="del">
        <pc:chgData name="Stephanie Fisher" userId="4a8d9212-f9a0-4b32-979f-fab227be859c" providerId="ADAL" clId="{69E9E868-23A9-4691-AE10-ADB75BDEA608}" dt="2023-03-10T19:14:34.447" v="719" actId="47"/>
        <pc:sldMkLst>
          <pc:docMk/>
          <pc:sldMk cId="722169022" sldId="330"/>
        </pc:sldMkLst>
      </pc:sldChg>
      <pc:sldChg chg="addSp delSp modSp del mod">
        <pc:chgData name="Stephanie Fisher" userId="4a8d9212-f9a0-4b32-979f-fab227be859c" providerId="ADAL" clId="{69E9E868-23A9-4691-AE10-ADB75BDEA608}" dt="2023-03-10T19:14:35.401" v="722" actId="47"/>
        <pc:sldMkLst>
          <pc:docMk/>
          <pc:sldMk cId="4278624088" sldId="331"/>
        </pc:sldMkLst>
        <pc:spChg chg="mod">
          <ac:chgData name="Stephanie Fisher" userId="4a8d9212-f9a0-4b32-979f-fab227be859c" providerId="ADAL" clId="{69E9E868-23A9-4691-AE10-ADB75BDEA608}" dt="2023-01-31T23:04:08.421" v="16" actId="20577"/>
          <ac:spMkLst>
            <pc:docMk/>
            <pc:sldMk cId="4278624088" sldId="331"/>
            <ac:spMk id="113" creationId="{00000000-0000-0000-0000-000000000000}"/>
          </ac:spMkLst>
        </pc:spChg>
        <pc:graphicFrameChg chg="add del mod">
          <ac:chgData name="Stephanie Fisher" userId="4a8d9212-f9a0-4b32-979f-fab227be859c" providerId="ADAL" clId="{69E9E868-23A9-4691-AE10-ADB75BDEA608}" dt="2023-01-31T23:03:43.394" v="2" actId="478"/>
          <ac:graphicFrameMkLst>
            <pc:docMk/>
            <pc:sldMk cId="4278624088" sldId="331"/>
            <ac:graphicFrameMk id="2" creationId="{50FF0B90-20C2-0CDA-3638-971060D37E8E}"/>
          </ac:graphicFrameMkLst>
        </pc:graphicFrameChg>
        <pc:picChg chg="del">
          <ac:chgData name="Stephanie Fisher" userId="4a8d9212-f9a0-4b32-979f-fab227be859c" providerId="ADAL" clId="{69E9E868-23A9-4691-AE10-ADB75BDEA608}" dt="2023-01-31T23:03:35.629" v="0" actId="478"/>
          <ac:picMkLst>
            <pc:docMk/>
            <pc:sldMk cId="4278624088" sldId="331"/>
            <ac:picMk id="3" creationId="{EC986086-1AA5-D0C8-A0E2-D55D3F1B5556}"/>
          </ac:picMkLst>
        </pc:picChg>
        <pc:picChg chg="add mod">
          <ac:chgData name="Stephanie Fisher" userId="4a8d9212-f9a0-4b32-979f-fab227be859c" providerId="ADAL" clId="{69E9E868-23A9-4691-AE10-ADB75BDEA608}" dt="2023-01-31T23:04:19.997" v="17" actId="1076"/>
          <ac:picMkLst>
            <pc:docMk/>
            <pc:sldMk cId="4278624088" sldId="331"/>
            <ac:picMk id="5" creationId="{A6D257DD-3621-1EAA-647E-18BDA0B595A1}"/>
          </ac:picMkLst>
        </pc:picChg>
      </pc:sldChg>
      <pc:sldChg chg="del">
        <pc:chgData name="Stephanie Fisher" userId="4a8d9212-f9a0-4b32-979f-fab227be859c" providerId="ADAL" clId="{69E9E868-23A9-4691-AE10-ADB75BDEA608}" dt="2023-03-10T19:13:10.940" v="682" actId="47"/>
        <pc:sldMkLst>
          <pc:docMk/>
          <pc:sldMk cId="0" sldId="336"/>
        </pc:sldMkLst>
      </pc:sldChg>
      <pc:sldChg chg="del">
        <pc:chgData name="Stephanie Fisher" userId="4a8d9212-f9a0-4b32-979f-fab227be859c" providerId="ADAL" clId="{69E9E868-23A9-4691-AE10-ADB75BDEA608}" dt="2023-03-10T19:13:53.130" v="689" actId="47"/>
        <pc:sldMkLst>
          <pc:docMk/>
          <pc:sldMk cId="172292682" sldId="337"/>
        </pc:sldMkLst>
      </pc:sldChg>
      <pc:sldChg chg="del">
        <pc:chgData name="Stephanie Fisher" userId="4a8d9212-f9a0-4b32-979f-fab227be859c" providerId="ADAL" clId="{69E9E868-23A9-4691-AE10-ADB75BDEA608}" dt="2023-03-10T19:14:32.684" v="714" actId="47"/>
        <pc:sldMkLst>
          <pc:docMk/>
          <pc:sldMk cId="25292926" sldId="341"/>
        </pc:sldMkLst>
      </pc:sldChg>
      <pc:sldChg chg="del">
        <pc:chgData name="Stephanie Fisher" userId="4a8d9212-f9a0-4b32-979f-fab227be859c" providerId="ADAL" clId="{69E9E868-23A9-4691-AE10-ADB75BDEA608}" dt="2023-03-10T19:14:33.743" v="717" actId="47"/>
        <pc:sldMkLst>
          <pc:docMk/>
          <pc:sldMk cId="539516423" sldId="342"/>
        </pc:sldMkLst>
      </pc:sldChg>
      <pc:sldChg chg="del">
        <pc:chgData name="Stephanie Fisher" userId="4a8d9212-f9a0-4b32-979f-fab227be859c" providerId="ADAL" clId="{69E9E868-23A9-4691-AE10-ADB75BDEA608}" dt="2023-03-10T19:14:34.767" v="720" actId="47"/>
        <pc:sldMkLst>
          <pc:docMk/>
          <pc:sldMk cId="1206472173" sldId="344"/>
        </pc:sldMkLst>
      </pc:sldChg>
      <pc:sldChg chg="del">
        <pc:chgData name="Stephanie Fisher" userId="4a8d9212-f9a0-4b32-979f-fab227be859c" providerId="ADAL" clId="{69E9E868-23A9-4691-AE10-ADB75BDEA608}" dt="2023-03-10T19:14:36.368" v="724" actId="47"/>
        <pc:sldMkLst>
          <pc:docMk/>
          <pc:sldMk cId="861857484" sldId="345"/>
        </pc:sldMkLst>
      </pc:sldChg>
      <pc:sldChg chg="del">
        <pc:chgData name="Stephanie Fisher" userId="4a8d9212-f9a0-4b32-979f-fab227be859c" providerId="ADAL" clId="{69E9E868-23A9-4691-AE10-ADB75BDEA608}" dt="2023-03-10T19:14:35.830" v="723" actId="47"/>
        <pc:sldMkLst>
          <pc:docMk/>
          <pc:sldMk cId="1555783482" sldId="346"/>
        </pc:sldMkLst>
      </pc:sldChg>
      <pc:sldChg chg="del">
        <pc:chgData name="Stephanie Fisher" userId="4a8d9212-f9a0-4b32-979f-fab227be859c" providerId="ADAL" clId="{69E9E868-23A9-4691-AE10-ADB75BDEA608}" dt="2023-03-10T19:13:53.935" v="691" actId="47"/>
        <pc:sldMkLst>
          <pc:docMk/>
          <pc:sldMk cId="917625855" sldId="347"/>
        </pc:sldMkLst>
      </pc:sldChg>
      <pc:sldChg chg="del">
        <pc:chgData name="Stephanie Fisher" userId="4a8d9212-f9a0-4b32-979f-fab227be859c" providerId="ADAL" clId="{69E9E868-23A9-4691-AE10-ADB75BDEA608}" dt="2023-03-10T19:13:52.737" v="688" actId="47"/>
        <pc:sldMkLst>
          <pc:docMk/>
          <pc:sldMk cId="3823646688" sldId="348"/>
        </pc:sldMkLst>
      </pc:sldChg>
      <pc:sldChg chg="modSp del mod">
        <pc:chgData name="Stephanie Fisher" userId="4a8d9212-f9a0-4b32-979f-fab227be859c" providerId="ADAL" clId="{69E9E868-23A9-4691-AE10-ADB75BDEA608}" dt="2023-03-10T19:14:02.200" v="693" actId="47"/>
        <pc:sldMkLst>
          <pc:docMk/>
          <pc:sldMk cId="2053460927" sldId="349"/>
        </pc:sldMkLst>
        <pc:spChg chg="mod">
          <ac:chgData name="Stephanie Fisher" userId="4a8d9212-f9a0-4b32-979f-fab227be859c" providerId="ADAL" clId="{69E9E868-23A9-4691-AE10-ADB75BDEA608}" dt="2023-03-10T19:14:00.403" v="692" actId="6549"/>
          <ac:spMkLst>
            <pc:docMk/>
            <pc:sldMk cId="2053460927" sldId="349"/>
            <ac:spMk id="112" creationId="{00000000-0000-0000-0000-000000000000}"/>
          </ac:spMkLst>
        </pc:spChg>
      </pc:sldChg>
      <pc:sldChg chg="del">
        <pc:chgData name="Stephanie Fisher" userId="4a8d9212-f9a0-4b32-979f-fab227be859c" providerId="ADAL" clId="{69E9E868-23A9-4691-AE10-ADB75BDEA608}" dt="2023-03-10T19:14:35.106" v="721" actId="47"/>
        <pc:sldMkLst>
          <pc:docMk/>
          <pc:sldMk cId="1168579712" sldId="350"/>
        </pc:sldMkLst>
      </pc:sldChg>
      <pc:sldChg chg="del">
        <pc:chgData name="Stephanie Fisher" userId="4a8d9212-f9a0-4b32-979f-fab227be859c" providerId="ADAL" clId="{69E9E868-23A9-4691-AE10-ADB75BDEA608}" dt="2023-03-10T19:14:33.057" v="715" actId="47"/>
        <pc:sldMkLst>
          <pc:docMk/>
          <pc:sldMk cId="1396187167" sldId="352"/>
        </pc:sldMkLst>
      </pc:sldChg>
      <pc:sldChg chg="addSp delSp modSp add del mod setBg delDesignElem">
        <pc:chgData name="Stephanie Fisher" userId="4a8d9212-f9a0-4b32-979f-fab227be859c" providerId="ADAL" clId="{69E9E868-23A9-4691-AE10-ADB75BDEA608}" dt="2023-02-28T22:36:19.021" v="136" actId="2696"/>
        <pc:sldMkLst>
          <pc:docMk/>
          <pc:sldMk cId="1842672227" sldId="353"/>
        </pc:sldMkLst>
        <pc:spChg chg="mod">
          <ac:chgData name="Stephanie Fisher" userId="4a8d9212-f9a0-4b32-979f-fab227be859c" providerId="ADAL" clId="{69E9E868-23A9-4691-AE10-ADB75BDEA608}" dt="2023-02-28T22:35:12.118" v="125" actId="1076"/>
          <ac:spMkLst>
            <pc:docMk/>
            <pc:sldMk cId="1842672227" sldId="353"/>
            <ac:spMk id="3" creationId="{B6E79891-D7F7-1857-5316-76A028B6E13A}"/>
          </ac:spMkLst>
        </pc:spChg>
        <pc:spChg chg="mod ord">
          <ac:chgData name="Stephanie Fisher" userId="4a8d9212-f9a0-4b32-979f-fab227be859c" providerId="ADAL" clId="{69E9E868-23A9-4691-AE10-ADB75BDEA608}" dt="2023-02-28T22:35:50.213" v="132" actId="1076"/>
          <ac:spMkLst>
            <pc:docMk/>
            <pc:sldMk cId="1842672227" sldId="353"/>
            <ac:spMk id="234" creationId="{00000000-0000-0000-0000-000000000000}"/>
          </ac:spMkLst>
        </pc:spChg>
        <pc:spChg chg="del">
          <ac:chgData name="Stephanie Fisher" userId="4a8d9212-f9a0-4b32-979f-fab227be859c" providerId="ADAL" clId="{69E9E868-23A9-4691-AE10-ADB75BDEA608}" dt="2023-02-28T22:34:48.866" v="123"/>
          <ac:spMkLst>
            <pc:docMk/>
            <pc:sldMk cId="1842672227" sldId="353"/>
            <ac:spMk id="236" creationId="{D12DDE76-C203-4047-9998-63900085B5E8}"/>
          </ac:spMkLst>
        </pc:spChg>
        <pc:spChg chg="add">
          <ac:chgData name="Stephanie Fisher" userId="4a8d9212-f9a0-4b32-979f-fab227be859c" providerId="ADAL" clId="{69E9E868-23A9-4691-AE10-ADB75BDEA608}" dt="2023-02-28T22:34:56.909" v="124" actId="26606"/>
          <ac:spMkLst>
            <pc:docMk/>
            <pc:sldMk cId="1842672227" sldId="353"/>
            <ac:spMk id="237" creationId="{4845A0EE-C4C8-4AE1-B3C6-1261368AC036}"/>
          </ac:spMkLst>
        </pc:spChg>
        <pc:picChg chg="mod">
          <ac:chgData name="Stephanie Fisher" userId="4a8d9212-f9a0-4b32-979f-fab227be859c" providerId="ADAL" clId="{69E9E868-23A9-4691-AE10-ADB75BDEA608}" dt="2023-02-28T22:35:30.339" v="131" actId="14100"/>
          <ac:picMkLst>
            <pc:docMk/>
            <pc:sldMk cId="1842672227" sldId="353"/>
            <ac:picMk id="15" creationId="{ECA7648A-841B-A173-192C-2C3C0730CDEF}"/>
          </ac:picMkLst>
        </pc:picChg>
      </pc:sldChg>
      <pc:sldChg chg="new del">
        <pc:chgData name="Stephanie Fisher" userId="4a8d9212-f9a0-4b32-979f-fab227be859c" providerId="ADAL" clId="{69E9E868-23A9-4691-AE10-ADB75BDEA608}" dt="2023-02-06T17:37:35.652" v="35" actId="47"/>
        <pc:sldMkLst>
          <pc:docMk/>
          <pc:sldMk cId="2106384770" sldId="354"/>
        </pc:sldMkLst>
      </pc:sldChg>
      <pc:sldChg chg="addSp modSp add del mod ord">
        <pc:chgData name="Stephanie Fisher" userId="4a8d9212-f9a0-4b32-979f-fab227be859c" providerId="ADAL" clId="{69E9E868-23A9-4691-AE10-ADB75BDEA608}" dt="2023-03-10T19:14:31.020" v="711" actId="47"/>
        <pc:sldMkLst>
          <pc:docMk/>
          <pc:sldMk cId="3985804495" sldId="354"/>
        </pc:sldMkLst>
        <pc:spChg chg="mod">
          <ac:chgData name="Stephanie Fisher" userId="4a8d9212-f9a0-4b32-979f-fab227be859c" providerId="ADAL" clId="{69E9E868-23A9-4691-AE10-ADB75BDEA608}" dt="2023-02-06T17:42:43.216" v="119" actId="20577"/>
          <ac:spMkLst>
            <pc:docMk/>
            <pc:sldMk cId="3985804495" sldId="354"/>
            <ac:spMk id="112" creationId="{00000000-0000-0000-0000-000000000000}"/>
          </ac:spMkLst>
        </pc:spChg>
        <pc:spChg chg="mod">
          <ac:chgData name="Stephanie Fisher" userId="4a8d9212-f9a0-4b32-979f-fab227be859c" providerId="ADAL" clId="{69E9E868-23A9-4691-AE10-ADB75BDEA608}" dt="2023-02-06T17:37:52.060" v="39" actId="27636"/>
          <ac:spMkLst>
            <pc:docMk/>
            <pc:sldMk cId="3985804495" sldId="354"/>
            <ac:spMk id="113" creationId="{00000000-0000-0000-0000-000000000000}"/>
          </ac:spMkLst>
        </pc:spChg>
        <pc:picChg chg="add mod">
          <ac:chgData name="Stephanie Fisher" userId="4a8d9212-f9a0-4b32-979f-fab227be859c" providerId="ADAL" clId="{69E9E868-23A9-4691-AE10-ADB75BDEA608}" dt="2023-02-06T17:42:48.242" v="121" actId="1076"/>
          <ac:picMkLst>
            <pc:docMk/>
            <pc:sldMk cId="3985804495" sldId="354"/>
            <ac:picMk id="4" creationId="{ED98995E-9C13-D78A-8374-8A2A04FCF404}"/>
          </ac:picMkLst>
        </pc:picChg>
      </pc:sldChg>
      <pc:sldChg chg="addSp modSp add del mod ord setBg">
        <pc:chgData name="Stephanie Fisher" userId="4a8d9212-f9a0-4b32-979f-fab227be859c" providerId="ADAL" clId="{69E9E868-23A9-4691-AE10-ADB75BDEA608}" dt="2023-03-10T19:14:41.790" v="727" actId="47"/>
        <pc:sldMkLst>
          <pc:docMk/>
          <pc:sldMk cId="1067462523" sldId="498"/>
        </pc:sldMkLst>
        <pc:spChg chg="mod">
          <ac:chgData name="Stephanie Fisher" userId="4a8d9212-f9a0-4b32-979f-fab227be859c" providerId="ADAL" clId="{69E9E868-23A9-4691-AE10-ADB75BDEA608}" dt="2023-03-10T18:11:42.732" v="149" actId="26606"/>
          <ac:spMkLst>
            <pc:docMk/>
            <pc:sldMk cId="1067462523" sldId="498"/>
            <ac:spMk id="3" creationId="{52001DA7-9CFB-804D-ADDD-E3C4B2307FEF}"/>
          </ac:spMkLst>
        </pc:spChg>
        <pc:spChg chg="mod">
          <ac:chgData name="Stephanie Fisher" userId="4a8d9212-f9a0-4b32-979f-fab227be859c" providerId="ADAL" clId="{69E9E868-23A9-4691-AE10-ADB75BDEA608}" dt="2023-03-10T18:11:42.732" v="149" actId="26606"/>
          <ac:spMkLst>
            <pc:docMk/>
            <pc:sldMk cId="1067462523" sldId="498"/>
            <ac:spMk id="4" creationId="{434FB45A-E928-1347-B164-4C50789A3A6F}"/>
          </ac:spMkLst>
        </pc:spChg>
        <pc:spChg chg="add">
          <ac:chgData name="Stephanie Fisher" userId="4a8d9212-f9a0-4b32-979f-fab227be859c" providerId="ADAL" clId="{69E9E868-23A9-4691-AE10-ADB75BDEA608}" dt="2023-03-10T18:11:42.732" v="149" actId="26606"/>
          <ac:spMkLst>
            <pc:docMk/>
            <pc:sldMk cId="1067462523" sldId="498"/>
            <ac:spMk id="9" creationId="{9B7AD9F6-8CE7-4299-8FC6-328F4DCD3FF9}"/>
          </ac:spMkLst>
        </pc:spChg>
        <pc:spChg chg="add">
          <ac:chgData name="Stephanie Fisher" userId="4a8d9212-f9a0-4b32-979f-fab227be859c" providerId="ADAL" clId="{69E9E868-23A9-4691-AE10-ADB75BDEA608}" dt="2023-03-10T18:11:42.732" v="149" actId="26606"/>
          <ac:spMkLst>
            <pc:docMk/>
            <pc:sldMk cId="1067462523" sldId="498"/>
            <ac:spMk id="11" creationId="{F49775AF-8896-43EE-92C6-83497D6DC56F}"/>
          </ac:spMkLst>
        </pc:spChg>
        <pc:picChg chg="add mod">
          <ac:chgData name="Stephanie Fisher" userId="4a8d9212-f9a0-4b32-979f-fab227be859c" providerId="ADAL" clId="{69E9E868-23A9-4691-AE10-ADB75BDEA608}" dt="2023-03-10T18:11:42.732" v="149" actId="26606"/>
          <ac:picMkLst>
            <pc:docMk/>
            <pc:sldMk cId="1067462523" sldId="498"/>
            <ac:picMk id="2" creationId="{2A592B69-CF9A-23AF-78E2-CDE115E4E784}"/>
          </ac:picMkLst>
        </pc:picChg>
      </pc:sldChg>
      <pc:sldChg chg="addSp delSp modSp mod setBg setClrOvrMap">
        <pc:chgData name="Stephanie Fisher" userId="4a8d9212-f9a0-4b32-979f-fab227be859c" providerId="ADAL" clId="{69E9E868-23A9-4691-AE10-ADB75BDEA608}" dt="2023-03-10T19:18:08.182" v="783" actId="14100"/>
        <pc:sldMkLst>
          <pc:docMk/>
          <pc:sldMk cId="3035941848" sldId="4663"/>
        </pc:sldMkLst>
        <pc:spChg chg="mod">
          <ac:chgData name="Stephanie Fisher" userId="4a8d9212-f9a0-4b32-979f-fab227be859c" providerId="ADAL" clId="{69E9E868-23A9-4691-AE10-ADB75BDEA608}" dt="2023-03-10T19:18:02.013" v="781" actId="14100"/>
          <ac:spMkLst>
            <pc:docMk/>
            <pc:sldMk cId="3035941848" sldId="4663"/>
            <ac:spMk id="3" creationId="{0D3854EF-694A-F46F-97F1-C9BD3818FB0F}"/>
          </ac:spMkLst>
        </pc:spChg>
        <pc:spChg chg="mod ord">
          <ac:chgData name="Stephanie Fisher" userId="4a8d9212-f9a0-4b32-979f-fab227be859c" providerId="ADAL" clId="{69E9E868-23A9-4691-AE10-ADB75BDEA608}" dt="2023-03-10T19:17:55.747" v="780" actId="14100"/>
          <ac:spMkLst>
            <pc:docMk/>
            <pc:sldMk cId="3035941848" sldId="4663"/>
            <ac:spMk id="4" creationId="{569A5181-8A34-A890-26E6-49EB42119AB7}"/>
          </ac:spMkLst>
        </pc:spChg>
        <pc:spChg chg="mod">
          <ac:chgData name="Stephanie Fisher" userId="4a8d9212-f9a0-4b32-979f-fab227be859c" providerId="ADAL" clId="{69E9E868-23A9-4691-AE10-ADB75BDEA608}" dt="2023-03-10T19:18:08.182" v="783" actId="14100"/>
          <ac:spMkLst>
            <pc:docMk/>
            <pc:sldMk cId="3035941848" sldId="4663"/>
            <ac:spMk id="5" creationId="{0E59BF3F-5716-5CF4-970A-0D3D5A0D8524}"/>
          </ac:spMkLst>
        </pc:spChg>
        <pc:spChg chg="add del">
          <ac:chgData name="Stephanie Fisher" userId="4a8d9212-f9a0-4b32-979f-fab227be859c" providerId="ADAL" clId="{69E9E868-23A9-4691-AE10-ADB75BDEA608}" dt="2023-03-10T18:57:29.907" v="524" actId="26606"/>
          <ac:spMkLst>
            <pc:docMk/>
            <pc:sldMk cId="3035941848" sldId="4663"/>
            <ac:spMk id="10" creationId="{8CA06CD6-90CA-4C45-856C-6771339E1E22}"/>
          </ac:spMkLst>
        </pc:spChg>
        <pc:spChg chg="add del">
          <ac:chgData name="Stephanie Fisher" userId="4a8d9212-f9a0-4b32-979f-fab227be859c" providerId="ADAL" clId="{69E9E868-23A9-4691-AE10-ADB75BDEA608}" dt="2023-03-10T19:05:52.617" v="601" actId="26606"/>
          <ac:spMkLst>
            <pc:docMk/>
            <pc:sldMk cId="3035941848" sldId="4663"/>
            <ac:spMk id="14" creationId="{4FFBEE45-F140-49D5-85EA-C78C24340B23}"/>
          </ac:spMkLst>
        </pc:spChg>
        <pc:spChg chg="add">
          <ac:chgData name="Stephanie Fisher" userId="4a8d9212-f9a0-4b32-979f-fab227be859c" providerId="ADAL" clId="{69E9E868-23A9-4691-AE10-ADB75BDEA608}" dt="2023-03-10T19:05:52.617" v="601" actId="26606"/>
          <ac:spMkLst>
            <pc:docMk/>
            <pc:sldMk cId="3035941848" sldId="4663"/>
            <ac:spMk id="19" creationId="{8CA06CD6-90CA-4C45-856C-6771339E1E22}"/>
          </ac:spMkLst>
        </pc:spChg>
        <pc:cxnChg chg="add del">
          <ac:chgData name="Stephanie Fisher" userId="4a8d9212-f9a0-4b32-979f-fab227be859c" providerId="ADAL" clId="{69E9E868-23A9-4691-AE10-ADB75BDEA608}" dt="2023-03-10T18:57:29.907" v="524" actId="26606"/>
          <ac:cxnSpMkLst>
            <pc:docMk/>
            <pc:sldMk cId="3035941848" sldId="4663"/>
            <ac:cxnSpMk id="12" creationId="{5021601D-2758-4B15-A31C-FDA184C51B3A}"/>
          </ac:cxnSpMkLst>
        </pc:cxnChg>
        <pc:cxnChg chg="add">
          <ac:chgData name="Stephanie Fisher" userId="4a8d9212-f9a0-4b32-979f-fab227be859c" providerId="ADAL" clId="{69E9E868-23A9-4691-AE10-ADB75BDEA608}" dt="2023-03-10T19:05:52.617" v="601" actId="26606"/>
          <ac:cxnSpMkLst>
            <pc:docMk/>
            <pc:sldMk cId="3035941848" sldId="4663"/>
            <ac:cxnSpMk id="21" creationId="{5021601D-2758-4B15-A31C-FDA184C51B3A}"/>
          </ac:cxnSpMkLst>
        </pc:cxnChg>
      </pc:sldChg>
      <pc:sldChg chg="addSp delSp modSp del mod setBg setClrOvrMap">
        <pc:chgData name="Stephanie Fisher" userId="4a8d9212-f9a0-4b32-979f-fab227be859c" providerId="ADAL" clId="{69E9E868-23A9-4691-AE10-ADB75BDEA608}" dt="2023-03-10T18:26:24.245" v="272" actId="47"/>
        <pc:sldMkLst>
          <pc:docMk/>
          <pc:sldMk cId="3710420476" sldId="4683"/>
        </pc:sldMkLst>
        <pc:spChg chg="mod">
          <ac:chgData name="Stephanie Fisher" userId="4a8d9212-f9a0-4b32-979f-fab227be859c" providerId="ADAL" clId="{69E9E868-23A9-4691-AE10-ADB75BDEA608}" dt="2023-03-10T18:24:53.753" v="260" actId="207"/>
          <ac:spMkLst>
            <pc:docMk/>
            <pc:sldMk cId="3710420476" sldId="4683"/>
            <ac:spMk id="3" creationId="{6969CFD1-BB8C-8AED-204D-7ABB7F3E8511}"/>
          </ac:spMkLst>
        </pc:spChg>
        <pc:spChg chg="mod">
          <ac:chgData name="Stephanie Fisher" userId="4a8d9212-f9a0-4b32-979f-fab227be859c" providerId="ADAL" clId="{69E9E868-23A9-4691-AE10-ADB75BDEA608}" dt="2023-03-10T18:25:19.750" v="264" actId="27636"/>
          <ac:spMkLst>
            <pc:docMk/>
            <pc:sldMk cId="3710420476" sldId="4683"/>
            <ac:spMk id="11" creationId="{07FE5E54-04BB-D1C9-C8F1-9A5B6ECFD832}"/>
          </ac:spMkLst>
        </pc:spChg>
        <pc:spChg chg="del mod">
          <ac:chgData name="Stephanie Fisher" userId="4a8d9212-f9a0-4b32-979f-fab227be859c" providerId="ADAL" clId="{69E9E868-23A9-4691-AE10-ADB75BDEA608}" dt="2023-03-10T18:24:39.184" v="257" actId="478"/>
          <ac:spMkLst>
            <pc:docMk/>
            <pc:sldMk cId="3710420476" sldId="4683"/>
            <ac:spMk id="12" creationId="{CECCED70-8AE3-5216-2EA0-35BFDBB50E8F}"/>
          </ac:spMkLst>
        </pc:spChg>
        <pc:spChg chg="add del">
          <ac:chgData name="Stephanie Fisher" userId="4a8d9212-f9a0-4b32-979f-fab227be859c" providerId="ADAL" clId="{69E9E868-23A9-4691-AE10-ADB75BDEA608}" dt="2023-03-10T18:24:41.900" v="258" actId="26606"/>
          <ac:spMkLst>
            <pc:docMk/>
            <pc:sldMk cId="3710420476" sldId="4683"/>
            <ac:spMk id="14" creationId="{8CA06CD6-90CA-4C45-856C-6771339E1E22}"/>
          </ac:spMkLst>
        </pc:spChg>
        <pc:spChg chg="add del">
          <ac:chgData name="Stephanie Fisher" userId="4a8d9212-f9a0-4b32-979f-fab227be859c" providerId="ADAL" clId="{69E9E868-23A9-4691-AE10-ADB75BDEA608}" dt="2023-03-10T18:24:27.359" v="255" actId="26606"/>
          <ac:spMkLst>
            <pc:docMk/>
            <pc:sldMk cId="3710420476" sldId="4683"/>
            <ac:spMk id="17" creationId="{4FFBEE45-F140-49D5-85EA-C78C24340B23}"/>
          </ac:spMkLst>
        </pc:spChg>
        <pc:spChg chg="add">
          <ac:chgData name="Stephanie Fisher" userId="4a8d9212-f9a0-4b32-979f-fab227be859c" providerId="ADAL" clId="{69E9E868-23A9-4691-AE10-ADB75BDEA608}" dt="2023-03-10T18:24:41.900" v="258" actId="26606"/>
          <ac:spMkLst>
            <pc:docMk/>
            <pc:sldMk cId="3710420476" sldId="4683"/>
            <ac:spMk id="24" creationId="{100EDD19-6802-4EC3-95CE-CFFAB042CFD6}"/>
          </ac:spMkLst>
        </pc:spChg>
        <pc:spChg chg="add">
          <ac:chgData name="Stephanie Fisher" userId="4a8d9212-f9a0-4b32-979f-fab227be859c" providerId="ADAL" clId="{69E9E868-23A9-4691-AE10-ADB75BDEA608}" dt="2023-03-10T18:24:41.900" v="258" actId="26606"/>
          <ac:spMkLst>
            <pc:docMk/>
            <pc:sldMk cId="3710420476" sldId="4683"/>
            <ac:spMk id="26" creationId="{DB17E863-922E-4C26-BD64-E8FD41D28661}"/>
          </ac:spMkLst>
        </pc:spChg>
        <pc:cxnChg chg="add del">
          <ac:chgData name="Stephanie Fisher" userId="4a8d9212-f9a0-4b32-979f-fab227be859c" providerId="ADAL" clId="{69E9E868-23A9-4691-AE10-ADB75BDEA608}" dt="2023-03-10T18:24:41.900" v="258" actId="26606"/>
          <ac:cxnSpMkLst>
            <pc:docMk/>
            <pc:sldMk cId="3710420476" sldId="4683"/>
            <ac:cxnSpMk id="19" creationId="{5021601D-2758-4B15-A31C-FDA184C51B3A}"/>
          </ac:cxnSpMkLst>
        </pc:cxnChg>
      </pc:sldChg>
      <pc:sldChg chg="addSp delSp modSp mod setBg modNotesTx">
        <pc:chgData name="Stephanie Fisher" userId="4a8d9212-f9a0-4b32-979f-fab227be859c" providerId="ADAL" clId="{69E9E868-23A9-4691-AE10-ADB75BDEA608}" dt="2023-03-10T19:04:52.288" v="600" actId="478"/>
        <pc:sldMkLst>
          <pc:docMk/>
          <pc:sldMk cId="253253429" sldId="4684"/>
        </pc:sldMkLst>
        <pc:spChg chg="mod">
          <ac:chgData name="Stephanie Fisher" userId="4a8d9212-f9a0-4b32-979f-fab227be859c" providerId="ADAL" clId="{69E9E868-23A9-4691-AE10-ADB75BDEA608}" dt="2023-03-10T18:36:02.797" v="318" actId="1076"/>
          <ac:spMkLst>
            <pc:docMk/>
            <pc:sldMk cId="253253429" sldId="4684"/>
            <ac:spMk id="3" creationId="{303652F6-2E5A-48D7-BE53-871355F16D09}"/>
          </ac:spMkLst>
        </pc:spChg>
        <pc:spChg chg="mod">
          <ac:chgData name="Stephanie Fisher" userId="4a8d9212-f9a0-4b32-979f-fab227be859c" providerId="ADAL" clId="{69E9E868-23A9-4691-AE10-ADB75BDEA608}" dt="2023-03-10T18:41:14.458" v="365"/>
          <ac:spMkLst>
            <pc:docMk/>
            <pc:sldMk cId="253253429" sldId="4684"/>
            <ac:spMk id="5" creationId="{A6998D8E-C62D-E5C6-6DF1-88256CD73F99}"/>
          </ac:spMkLst>
        </pc:spChg>
        <pc:spChg chg="mod">
          <ac:chgData name="Stephanie Fisher" userId="4a8d9212-f9a0-4b32-979f-fab227be859c" providerId="ADAL" clId="{69E9E868-23A9-4691-AE10-ADB75BDEA608}" dt="2023-03-10T18:42:31.877" v="378" actId="21"/>
          <ac:spMkLst>
            <pc:docMk/>
            <pc:sldMk cId="253253429" sldId="4684"/>
            <ac:spMk id="6" creationId="{B996AEB4-8594-B05E-3933-D995055A67D4}"/>
          </ac:spMkLst>
        </pc:spChg>
        <pc:spChg chg="mod">
          <ac:chgData name="Stephanie Fisher" userId="4a8d9212-f9a0-4b32-979f-fab227be859c" providerId="ADAL" clId="{69E9E868-23A9-4691-AE10-ADB75BDEA608}" dt="2023-03-10T18:41:23.997" v="366" actId="21"/>
          <ac:spMkLst>
            <pc:docMk/>
            <pc:sldMk cId="253253429" sldId="4684"/>
            <ac:spMk id="7" creationId="{8C802EFE-7CC4-3A35-DC0C-24CEE1C5E41A}"/>
          </ac:spMkLst>
        </pc:spChg>
        <pc:grpChg chg="add mod">
          <ac:chgData name="Stephanie Fisher" userId="4a8d9212-f9a0-4b32-979f-fab227be859c" providerId="ADAL" clId="{69E9E868-23A9-4691-AE10-ADB75BDEA608}" dt="2023-03-10T18:41:55.556" v="373" actId="1076"/>
          <ac:grpSpMkLst>
            <pc:docMk/>
            <pc:sldMk cId="253253429" sldId="4684"/>
            <ac:grpSpMk id="2" creationId="{78FFB2D3-92E0-2281-9521-ED1418DEF6DA}"/>
          </ac:grpSpMkLst>
        </pc:grpChg>
        <pc:grpChg chg="add del mod">
          <ac:chgData name="Stephanie Fisher" userId="4a8d9212-f9a0-4b32-979f-fab227be859c" providerId="ADAL" clId="{69E9E868-23A9-4691-AE10-ADB75BDEA608}" dt="2023-03-10T19:04:48.816" v="599" actId="478"/>
          <ac:grpSpMkLst>
            <pc:docMk/>
            <pc:sldMk cId="253253429" sldId="4684"/>
            <ac:grpSpMk id="20" creationId="{D22607BC-9E8C-773B-3266-CBF192B7BAAF}"/>
          </ac:grpSpMkLst>
        </pc:grpChg>
        <pc:graphicFrameChg chg="mod modGraphic">
          <ac:chgData name="Stephanie Fisher" userId="4a8d9212-f9a0-4b32-979f-fab227be859c" providerId="ADAL" clId="{69E9E868-23A9-4691-AE10-ADB75BDEA608}" dt="2023-03-10T19:04:30.289" v="595" actId="1076"/>
          <ac:graphicFrameMkLst>
            <pc:docMk/>
            <pc:sldMk cId="253253429" sldId="4684"/>
            <ac:graphicFrameMk id="4" creationId="{B8E476C4-629A-1BA8-7257-808FE8F3BC80}"/>
          </ac:graphicFrameMkLst>
        </pc:graphicFrameChg>
        <pc:cxnChg chg="del mod">
          <ac:chgData name="Stephanie Fisher" userId="4a8d9212-f9a0-4b32-979f-fab227be859c" providerId="ADAL" clId="{69E9E868-23A9-4691-AE10-ADB75BDEA608}" dt="2023-03-10T19:04:44.918" v="597" actId="478"/>
          <ac:cxnSpMkLst>
            <pc:docMk/>
            <pc:sldMk cId="253253429" sldId="4684"/>
            <ac:cxnSpMk id="9" creationId="{601EEFC4-3B87-1B3A-1ECE-8A5A63D273D8}"/>
          </ac:cxnSpMkLst>
        </pc:cxnChg>
        <pc:cxnChg chg="del">
          <ac:chgData name="Stephanie Fisher" userId="4a8d9212-f9a0-4b32-979f-fab227be859c" providerId="ADAL" clId="{69E9E868-23A9-4691-AE10-ADB75BDEA608}" dt="2023-03-10T19:04:52.288" v="600" actId="478"/>
          <ac:cxnSpMkLst>
            <pc:docMk/>
            <pc:sldMk cId="253253429" sldId="4684"/>
            <ac:cxnSpMk id="10" creationId="{20345D56-E317-3150-5E55-4264311E2982}"/>
          </ac:cxnSpMkLst>
        </pc:cxnChg>
      </pc:sldChg>
      <pc:sldChg chg="addSp delSp modSp mod ord setBg modNotesTx">
        <pc:chgData name="Stephanie Fisher" userId="4a8d9212-f9a0-4b32-979f-fab227be859c" providerId="ADAL" clId="{69E9E868-23A9-4691-AE10-ADB75BDEA608}" dt="2023-03-10T21:02:26.339" v="821" actId="1076"/>
        <pc:sldMkLst>
          <pc:docMk/>
          <pc:sldMk cId="866898344" sldId="4685"/>
        </pc:sldMkLst>
        <pc:spChg chg="mod">
          <ac:chgData name="Stephanie Fisher" userId="4a8d9212-f9a0-4b32-979f-fab227be859c" providerId="ADAL" clId="{69E9E868-23A9-4691-AE10-ADB75BDEA608}" dt="2023-03-10T19:20:23.906" v="819" actId="1076"/>
          <ac:spMkLst>
            <pc:docMk/>
            <pc:sldMk cId="866898344" sldId="4685"/>
            <ac:spMk id="3" creationId="{C0CF7D94-6D16-0DC3-AEE5-E2FF02E40358}"/>
          </ac:spMkLst>
        </pc:spChg>
        <pc:spChg chg="mod">
          <ac:chgData name="Stephanie Fisher" userId="4a8d9212-f9a0-4b32-979f-fab227be859c" providerId="ADAL" clId="{69E9E868-23A9-4691-AE10-ADB75BDEA608}" dt="2023-03-10T18:39:47.753" v="358" actId="6549"/>
          <ac:spMkLst>
            <pc:docMk/>
            <pc:sldMk cId="866898344" sldId="4685"/>
            <ac:spMk id="7" creationId="{7ADB57B2-A1BC-FF73-CA45-DD4DB0BBD5FF}"/>
          </ac:spMkLst>
        </pc:spChg>
        <pc:spChg chg="del mod">
          <ac:chgData name="Stephanie Fisher" userId="4a8d9212-f9a0-4b32-979f-fab227be859c" providerId="ADAL" clId="{69E9E868-23A9-4691-AE10-ADB75BDEA608}" dt="2023-03-10T18:39:18.056" v="349" actId="21"/>
          <ac:spMkLst>
            <pc:docMk/>
            <pc:sldMk cId="866898344" sldId="4685"/>
            <ac:spMk id="19" creationId="{5283292A-6403-CB94-2208-A0D7048C6452}"/>
          </ac:spMkLst>
        </pc:spChg>
        <pc:spChg chg="add del">
          <ac:chgData name="Stephanie Fisher" userId="4a8d9212-f9a0-4b32-979f-fab227be859c" providerId="ADAL" clId="{69E9E868-23A9-4691-AE10-ADB75BDEA608}" dt="2023-03-10T19:19:42.296" v="807" actId="26606"/>
          <ac:spMkLst>
            <pc:docMk/>
            <pc:sldMk cId="866898344" sldId="4685"/>
            <ac:spMk id="24" creationId="{743AA782-23D1-4521-8CAD-47662984AA08}"/>
          </ac:spMkLst>
        </pc:spChg>
        <pc:spChg chg="add del">
          <ac:chgData name="Stephanie Fisher" userId="4a8d9212-f9a0-4b32-979f-fab227be859c" providerId="ADAL" clId="{69E9E868-23A9-4691-AE10-ADB75BDEA608}" dt="2023-03-10T19:19:42.296" v="807" actId="26606"/>
          <ac:spMkLst>
            <pc:docMk/>
            <pc:sldMk cId="866898344" sldId="4685"/>
            <ac:spMk id="26" creationId="{71877DBC-BB60-40F0-AC93-2ACDBAAE60CE}"/>
          </ac:spMkLst>
        </pc:spChg>
        <pc:spChg chg="add del">
          <ac:chgData name="Stephanie Fisher" userId="4a8d9212-f9a0-4b32-979f-fab227be859c" providerId="ADAL" clId="{69E9E868-23A9-4691-AE10-ADB75BDEA608}" dt="2023-03-10T19:19:42.296" v="807" actId="26606"/>
          <ac:spMkLst>
            <pc:docMk/>
            <pc:sldMk cId="866898344" sldId="4685"/>
            <ac:spMk id="31" creationId="{2E442304-DDBD-4F7B-8017-36BCC863FB40}"/>
          </ac:spMkLst>
        </pc:spChg>
        <pc:spChg chg="add del">
          <ac:chgData name="Stephanie Fisher" userId="4a8d9212-f9a0-4b32-979f-fab227be859c" providerId="ADAL" clId="{69E9E868-23A9-4691-AE10-ADB75BDEA608}" dt="2023-03-10T19:19:42.296" v="807" actId="26606"/>
          <ac:spMkLst>
            <pc:docMk/>
            <pc:sldMk cId="866898344" sldId="4685"/>
            <ac:spMk id="33" creationId="{5E107275-3853-46FD-A241-DE4355A42675}"/>
          </ac:spMkLst>
        </pc:spChg>
        <pc:grpChg chg="add mod ord">
          <ac:chgData name="Stephanie Fisher" userId="4a8d9212-f9a0-4b32-979f-fab227be859c" providerId="ADAL" clId="{69E9E868-23A9-4691-AE10-ADB75BDEA608}" dt="2023-03-10T21:02:26.339" v="821" actId="1076"/>
          <ac:grpSpMkLst>
            <pc:docMk/>
            <pc:sldMk cId="866898344" sldId="4685"/>
            <ac:grpSpMk id="9" creationId="{3C055C52-E429-A62F-63B2-146C045DBCDA}"/>
          </ac:grpSpMkLst>
        </pc:grpChg>
        <pc:grpChg chg="del mod">
          <ac:chgData name="Stephanie Fisher" userId="4a8d9212-f9a0-4b32-979f-fab227be859c" providerId="ADAL" clId="{69E9E868-23A9-4691-AE10-ADB75BDEA608}" dt="2023-03-10T18:37:34.148" v="329" actId="478"/>
          <ac:grpSpMkLst>
            <pc:docMk/>
            <pc:sldMk cId="866898344" sldId="4685"/>
            <ac:grpSpMk id="17" creationId="{34B5C438-799C-AD84-E1A8-7925F518A721}"/>
          </ac:grpSpMkLst>
        </pc:grpChg>
        <pc:picChg chg="mod">
          <ac:chgData name="Stephanie Fisher" userId="4a8d9212-f9a0-4b32-979f-fab227be859c" providerId="ADAL" clId="{69E9E868-23A9-4691-AE10-ADB75BDEA608}" dt="2023-03-10T18:37:55.189" v="335" actId="27614"/>
          <ac:picMkLst>
            <pc:docMk/>
            <pc:sldMk cId="866898344" sldId="4685"/>
            <ac:picMk id="5" creationId="{3D3E978F-4139-E874-6ED8-F5F95CC1CDCC}"/>
          </ac:picMkLst>
        </pc:picChg>
      </pc:sldChg>
      <pc:sldChg chg="addSp delSp modSp mod setBg modNotesTx">
        <pc:chgData name="Stephanie Fisher" userId="4a8d9212-f9a0-4b32-979f-fab227be859c" providerId="ADAL" clId="{69E9E868-23A9-4691-AE10-ADB75BDEA608}" dt="2023-03-10T19:16:09.737" v="757" actId="1076"/>
        <pc:sldMkLst>
          <pc:docMk/>
          <pc:sldMk cId="1680721342" sldId="4686"/>
        </pc:sldMkLst>
        <pc:spChg chg="mod">
          <ac:chgData name="Stephanie Fisher" userId="4a8d9212-f9a0-4b32-979f-fab227be859c" providerId="ADAL" clId="{69E9E868-23A9-4691-AE10-ADB75BDEA608}" dt="2023-03-10T19:15:27.688" v="743" actId="1076"/>
          <ac:spMkLst>
            <pc:docMk/>
            <pc:sldMk cId="1680721342" sldId="4686"/>
            <ac:spMk id="3" creationId="{738322FF-733E-649C-ED95-C7B0A55ABF80}"/>
          </ac:spMkLst>
        </pc:spChg>
        <pc:spChg chg="mod">
          <ac:chgData name="Stephanie Fisher" userId="4a8d9212-f9a0-4b32-979f-fab227be859c" providerId="ADAL" clId="{69E9E868-23A9-4691-AE10-ADB75BDEA608}" dt="2023-03-10T19:16:09.737" v="757" actId="1076"/>
          <ac:spMkLst>
            <pc:docMk/>
            <pc:sldMk cId="1680721342" sldId="4686"/>
            <ac:spMk id="4" creationId="{8E494AC2-0513-55ED-D93A-1BA4BBADD4EA}"/>
          </ac:spMkLst>
        </pc:spChg>
        <pc:spChg chg="mod">
          <ac:chgData name="Stephanie Fisher" userId="4a8d9212-f9a0-4b32-979f-fab227be859c" providerId="ADAL" clId="{69E9E868-23A9-4691-AE10-ADB75BDEA608}" dt="2023-03-10T19:16:09.737" v="757" actId="1076"/>
          <ac:spMkLst>
            <pc:docMk/>
            <pc:sldMk cId="1680721342" sldId="4686"/>
            <ac:spMk id="6" creationId="{228D905C-E2A6-BAB5-C1F8-733B7628C261}"/>
          </ac:spMkLst>
        </pc:spChg>
        <pc:spChg chg="del mod">
          <ac:chgData name="Stephanie Fisher" userId="4a8d9212-f9a0-4b32-979f-fab227be859c" providerId="ADAL" clId="{69E9E868-23A9-4691-AE10-ADB75BDEA608}" dt="2023-03-10T19:14:58.868" v="730" actId="478"/>
          <ac:spMkLst>
            <pc:docMk/>
            <pc:sldMk cId="1680721342" sldId="4686"/>
            <ac:spMk id="8" creationId="{ADC463DC-8771-2BBC-E6EC-AC9D55F37BA3}"/>
          </ac:spMkLst>
        </pc:spChg>
        <pc:spChg chg="add">
          <ac:chgData name="Stephanie Fisher" userId="4a8d9212-f9a0-4b32-979f-fab227be859c" providerId="ADAL" clId="{69E9E868-23A9-4691-AE10-ADB75BDEA608}" dt="2023-03-10T18:16:23.173" v="199" actId="26606"/>
          <ac:spMkLst>
            <pc:docMk/>
            <pc:sldMk cId="1680721342" sldId="4686"/>
            <ac:spMk id="1028" creationId="{2B97F24A-32CE-4C1C-A50D-3016B394DCFB}"/>
          </ac:spMkLst>
        </pc:spChg>
        <pc:spChg chg="add">
          <ac:chgData name="Stephanie Fisher" userId="4a8d9212-f9a0-4b32-979f-fab227be859c" providerId="ADAL" clId="{69E9E868-23A9-4691-AE10-ADB75BDEA608}" dt="2023-03-10T18:16:23.173" v="199" actId="26606"/>
          <ac:spMkLst>
            <pc:docMk/>
            <pc:sldMk cId="1680721342" sldId="4686"/>
            <ac:spMk id="1029" creationId="{6357EC4F-235E-4222-A36F-C7878ACE37F2}"/>
          </ac:spMkLst>
        </pc:spChg>
        <pc:spChg chg="add del">
          <ac:chgData name="Stephanie Fisher" userId="4a8d9212-f9a0-4b32-979f-fab227be859c" providerId="ADAL" clId="{69E9E868-23A9-4691-AE10-ADB75BDEA608}" dt="2023-03-10T18:13:30.069" v="157" actId="26606"/>
          <ac:spMkLst>
            <pc:docMk/>
            <pc:sldMk cId="1680721342" sldId="4686"/>
            <ac:spMk id="1031" creationId="{C3420C89-0B09-4632-A4AF-3971D08BF7A8}"/>
          </ac:spMkLst>
        </pc:spChg>
        <pc:spChg chg="add del">
          <ac:chgData name="Stephanie Fisher" userId="4a8d9212-f9a0-4b32-979f-fab227be859c" providerId="ADAL" clId="{69E9E868-23A9-4691-AE10-ADB75BDEA608}" dt="2023-03-10T18:13:30.069" v="157" actId="26606"/>
          <ac:spMkLst>
            <pc:docMk/>
            <pc:sldMk cId="1680721342" sldId="4686"/>
            <ac:spMk id="1033" creationId="{4E5CBA61-BF74-40B4-A3A8-366BBA626CCF}"/>
          </ac:spMkLst>
        </pc:spChg>
        <pc:grpChg chg="add mod ord">
          <ac:chgData name="Stephanie Fisher" userId="4a8d9212-f9a0-4b32-979f-fab227be859c" providerId="ADAL" clId="{69E9E868-23A9-4691-AE10-ADB75BDEA608}" dt="2023-03-10T19:16:09.737" v="757" actId="1076"/>
          <ac:grpSpMkLst>
            <pc:docMk/>
            <pc:sldMk cId="1680721342" sldId="4686"/>
            <ac:grpSpMk id="7" creationId="{4E8062E5-DCBE-2BB7-1FF5-01604B608EC5}"/>
          </ac:grpSpMkLst>
        </pc:grpChg>
        <pc:grpChg chg="add del">
          <ac:chgData name="Stephanie Fisher" userId="4a8d9212-f9a0-4b32-979f-fab227be859c" providerId="ADAL" clId="{69E9E868-23A9-4691-AE10-ADB75BDEA608}" dt="2023-03-10T18:13:30.069" v="157" actId="26606"/>
          <ac:grpSpMkLst>
            <pc:docMk/>
            <pc:sldMk cId="1680721342" sldId="4686"/>
            <ac:grpSpMk id="1035" creationId="{AC27E70C-5470-4262-B9CE-AE52C51CF4C1}"/>
          </ac:grpSpMkLst>
        </pc:grpChg>
        <pc:grpChg chg="add del">
          <ac:chgData name="Stephanie Fisher" userId="4a8d9212-f9a0-4b32-979f-fab227be859c" providerId="ADAL" clId="{69E9E868-23A9-4691-AE10-ADB75BDEA608}" dt="2023-03-10T18:13:30.069" v="157" actId="26606"/>
          <ac:grpSpMkLst>
            <pc:docMk/>
            <pc:sldMk cId="1680721342" sldId="4686"/>
            <ac:grpSpMk id="1039" creationId="{E27AF472-EAE3-4572-AB69-B92BD10DBC6D}"/>
          </ac:grpSpMkLst>
        </pc:grpChg>
        <pc:picChg chg="mod">
          <ac:chgData name="Stephanie Fisher" userId="4a8d9212-f9a0-4b32-979f-fab227be859c" providerId="ADAL" clId="{69E9E868-23A9-4691-AE10-ADB75BDEA608}" dt="2023-03-10T19:16:09.737" v="757" actId="1076"/>
          <ac:picMkLst>
            <pc:docMk/>
            <pc:sldMk cId="1680721342" sldId="4686"/>
            <ac:picMk id="1026" creationId="{CFFB57C8-F727-C3ED-6FB9-3709676CC352}"/>
          </ac:picMkLst>
        </pc:picChg>
      </pc:sldChg>
      <pc:sldChg chg="modSp del mod">
        <pc:chgData name="Stephanie Fisher" userId="4a8d9212-f9a0-4b32-979f-fab227be859c" providerId="ADAL" clId="{69E9E868-23A9-4691-AE10-ADB75BDEA608}" dt="2023-03-10T18:43:48.669" v="386" actId="2696"/>
        <pc:sldMkLst>
          <pc:docMk/>
          <pc:sldMk cId="799585981" sldId="4687"/>
        </pc:sldMkLst>
        <pc:spChg chg="mod">
          <ac:chgData name="Stephanie Fisher" userId="4a8d9212-f9a0-4b32-979f-fab227be859c" providerId="ADAL" clId="{69E9E868-23A9-4691-AE10-ADB75BDEA608}" dt="2023-03-10T18:10:06.893" v="142" actId="27636"/>
          <ac:spMkLst>
            <pc:docMk/>
            <pc:sldMk cId="799585981" sldId="4687"/>
            <ac:spMk id="2" creationId="{B5B10AC9-9457-E43E-20A1-4CD8B1A77DE2}"/>
          </ac:spMkLst>
        </pc:spChg>
        <pc:spChg chg="mod">
          <ac:chgData name="Stephanie Fisher" userId="4a8d9212-f9a0-4b32-979f-fab227be859c" providerId="ADAL" clId="{69E9E868-23A9-4691-AE10-ADB75BDEA608}" dt="2023-03-10T18:10:06.895" v="143" actId="27636"/>
          <ac:spMkLst>
            <pc:docMk/>
            <pc:sldMk cId="799585981" sldId="4687"/>
            <ac:spMk id="3" creationId="{C2F609DB-B5A6-3631-6634-E3937A752E6D}"/>
          </ac:spMkLst>
        </pc:spChg>
      </pc:sldChg>
      <pc:sldChg chg="addSp delSp modSp add del mod setBg">
        <pc:chgData name="Stephanie Fisher" userId="4a8d9212-f9a0-4b32-979f-fab227be859c" providerId="ADAL" clId="{69E9E868-23A9-4691-AE10-ADB75BDEA608}" dt="2023-03-10T19:18:44.454" v="804" actId="255"/>
        <pc:sldMkLst>
          <pc:docMk/>
          <pc:sldMk cId="1233663604" sldId="4689"/>
        </pc:sldMkLst>
        <pc:spChg chg="add del mod">
          <ac:chgData name="Stephanie Fisher" userId="4a8d9212-f9a0-4b32-979f-fab227be859c" providerId="ADAL" clId="{69E9E868-23A9-4691-AE10-ADB75BDEA608}" dt="2023-03-10T18:52:53.681" v="487" actId="478"/>
          <ac:spMkLst>
            <pc:docMk/>
            <pc:sldMk cId="1233663604" sldId="4689"/>
            <ac:spMk id="3" creationId="{5DD64F47-52FA-C906-ED4C-053674F63E70}"/>
          </ac:spMkLst>
        </pc:spChg>
        <pc:spChg chg="mod">
          <ac:chgData name="Stephanie Fisher" userId="4a8d9212-f9a0-4b32-979f-fab227be859c" providerId="ADAL" clId="{69E9E868-23A9-4691-AE10-ADB75BDEA608}" dt="2023-03-10T19:18:25.605" v="799" actId="20577"/>
          <ac:spMkLst>
            <pc:docMk/>
            <pc:sldMk cId="1233663604" sldId="4689"/>
            <ac:spMk id="5" creationId="{3A5C2F09-B94C-7085-CAC0-E1B90B878D1A}"/>
          </ac:spMkLst>
        </pc:spChg>
        <pc:spChg chg="add del mod">
          <ac:chgData name="Stephanie Fisher" userId="4a8d9212-f9a0-4b32-979f-fab227be859c" providerId="ADAL" clId="{69E9E868-23A9-4691-AE10-ADB75BDEA608}" dt="2023-03-10T19:18:44.454" v="804" actId="255"/>
          <ac:spMkLst>
            <pc:docMk/>
            <pc:sldMk cId="1233663604" sldId="4689"/>
            <ac:spMk id="6" creationId="{7DF1B218-1BBD-F165-2782-D631C4BEC3B0}"/>
          </ac:spMkLst>
        </pc:spChg>
        <pc:spChg chg="mod">
          <ac:chgData name="Stephanie Fisher" userId="4a8d9212-f9a0-4b32-979f-fab227be859c" providerId="ADAL" clId="{69E9E868-23A9-4691-AE10-ADB75BDEA608}" dt="2023-03-10T19:02:24.037" v="578" actId="20577"/>
          <ac:spMkLst>
            <pc:docMk/>
            <pc:sldMk cId="1233663604" sldId="4689"/>
            <ac:spMk id="10" creationId="{294B9F55-1927-23DA-7A72-71054D985F52}"/>
          </ac:spMkLst>
        </pc:spChg>
        <pc:spChg chg="mod">
          <ac:chgData name="Stephanie Fisher" userId="4a8d9212-f9a0-4b32-979f-fab227be859c" providerId="ADAL" clId="{69E9E868-23A9-4691-AE10-ADB75BDEA608}" dt="2023-03-10T19:02:30.471" v="579" actId="1076"/>
          <ac:spMkLst>
            <pc:docMk/>
            <pc:sldMk cId="1233663604" sldId="4689"/>
            <ac:spMk id="11" creationId="{A4661099-358B-2631-F8FE-EB0722DFFF7B}"/>
          </ac:spMkLst>
        </pc:spChg>
        <pc:spChg chg="mod">
          <ac:chgData name="Stephanie Fisher" userId="4a8d9212-f9a0-4b32-979f-fab227be859c" providerId="ADAL" clId="{69E9E868-23A9-4691-AE10-ADB75BDEA608}" dt="2023-03-10T19:02:45.153" v="582" actId="255"/>
          <ac:spMkLst>
            <pc:docMk/>
            <pc:sldMk cId="1233663604" sldId="4689"/>
            <ac:spMk id="13" creationId="{16AF78C8-1D7C-B6B4-B0A7-9E4754A3B8B1}"/>
          </ac:spMkLst>
        </pc:spChg>
        <pc:spChg chg="mod">
          <ac:chgData name="Stephanie Fisher" userId="4a8d9212-f9a0-4b32-979f-fab227be859c" providerId="ADAL" clId="{69E9E868-23A9-4691-AE10-ADB75BDEA608}" dt="2023-03-10T19:02:59.097" v="584" actId="255"/>
          <ac:spMkLst>
            <pc:docMk/>
            <pc:sldMk cId="1233663604" sldId="4689"/>
            <ac:spMk id="14" creationId="{838FF9A5-7856-84B0-D6AC-1CA12E8989D9}"/>
          </ac:spMkLst>
        </pc:spChg>
        <pc:spChg chg="mod">
          <ac:chgData name="Stephanie Fisher" userId="4a8d9212-f9a0-4b32-979f-fab227be859c" providerId="ADAL" clId="{69E9E868-23A9-4691-AE10-ADB75BDEA608}" dt="2023-03-10T19:02:35.089" v="580" actId="20577"/>
          <ac:spMkLst>
            <pc:docMk/>
            <pc:sldMk cId="1233663604" sldId="4689"/>
            <ac:spMk id="20" creationId="{247CA8F8-CE79-1F57-5B1A-63F5BE7C959A}"/>
          </ac:spMkLst>
        </pc:spChg>
        <pc:spChg chg="mod">
          <ac:chgData name="Stephanie Fisher" userId="4a8d9212-f9a0-4b32-979f-fab227be859c" providerId="ADAL" clId="{69E9E868-23A9-4691-AE10-ADB75BDEA608}" dt="2023-03-10T19:02:38.877" v="581" actId="1076"/>
          <ac:spMkLst>
            <pc:docMk/>
            <pc:sldMk cId="1233663604" sldId="4689"/>
            <ac:spMk id="21" creationId="{12442A7B-128F-B807-37DF-58C27D1BFECD}"/>
          </ac:spMkLst>
        </pc:spChg>
        <pc:grpChg chg="mod">
          <ac:chgData name="Stephanie Fisher" userId="4a8d9212-f9a0-4b32-979f-fab227be859c" providerId="ADAL" clId="{69E9E868-23A9-4691-AE10-ADB75BDEA608}" dt="2023-03-10T18:56:24.264" v="516" actId="1076"/>
          <ac:grpSpMkLst>
            <pc:docMk/>
            <pc:sldMk cId="1233663604" sldId="4689"/>
            <ac:grpSpMk id="7" creationId="{0D3DD9A1-4D07-DA41-7500-1F29FCFA1184}"/>
          </ac:grpSpMkLst>
        </pc:grpChg>
        <pc:grpChg chg="mod">
          <ac:chgData name="Stephanie Fisher" userId="4a8d9212-f9a0-4b32-979f-fab227be859c" providerId="ADAL" clId="{69E9E868-23A9-4691-AE10-ADB75BDEA608}" dt="2023-03-10T19:18:34.644" v="801" actId="1076"/>
          <ac:grpSpMkLst>
            <pc:docMk/>
            <pc:sldMk cId="1233663604" sldId="4689"/>
            <ac:grpSpMk id="12" creationId="{FF8C091F-69C8-1E1A-302E-9660FCC88CE8}"/>
          </ac:grpSpMkLst>
        </pc:grpChg>
        <pc:grpChg chg="mod">
          <ac:chgData name="Stephanie Fisher" userId="4a8d9212-f9a0-4b32-979f-fab227be859c" providerId="ADAL" clId="{69E9E868-23A9-4691-AE10-ADB75BDEA608}" dt="2023-03-10T19:01:35.721" v="570" actId="1076"/>
          <ac:grpSpMkLst>
            <pc:docMk/>
            <pc:sldMk cId="1233663604" sldId="4689"/>
            <ac:grpSpMk id="18" creationId="{0C3E468D-A344-44F1-808F-2C389F17B27D}"/>
          </ac:grpSpMkLst>
        </pc:grpChg>
        <pc:picChg chg="mod">
          <ac:chgData name="Stephanie Fisher" userId="4a8d9212-f9a0-4b32-979f-fab227be859c" providerId="ADAL" clId="{69E9E868-23A9-4691-AE10-ADB75BDEA608}" dt="2023-03-10T18:56:38.997" v="519" actId="1076"/>
          <ac:picMkLst>
            <pc:docMk/>
            <pc:sldMk cId="1233663604" sldId="4689"/>
            <ac:picMk id="16" creationId="{9B0CDDEE-E552-5AEE-9588-E1C5644FE91A}"/>
          </ac:picMkLst>
        </pc:picChg>
        <pc:picChg chg="mod">
          <ac:chgData name="Stephanie Fisher" userId="4a8d9212-f9a0-4b32-979f-fab227be859c" providerId="ADAL" clId="{69E9E868-23A9-4691-AE10-ADB75BDEA608}" dt="2023-03-10T19:03:15.808" v="585" actId="1076"/>
          <ac:picMkLst>
            <pc:docMk/>
            <pc:sldMk cId="1233663604" sldId="4689"/>
            <ac:picMk id="2050" creationId="{DCCA3FAE-1CCA-2BC0-658E-CBCF4E79323A}"/>
          </ac:picMkLst>
        </pc:picChg>
        <pc:picChg chg="mod">
          <ac:chgData name="Stephanie Fisher" userId="4a8d9212-f9a0-4b32-979f-fab227be859c" providerId="ADAL" clId="{69E9E868-23A9-4691-AE10-ADB75BDEA608}" dt="2023-03-10T18:56:17.675" v="515" actId="1076"/>
          <ac:picMkLst>
            <pc:docMk/>
            <pc:sldMk cId="1233663604" sldId="4689"/>
            <ac:picMk id="2052" creationId="{9D9D0EAE-F99D-EF17-EF59-84121731404D}"/>
          </ac:picMkLst>
        </pc:picChg>
      </pc:sldChg>
      <pc:sldChg chg="delSp modSp mod setBg">
        <pc:chgData name="Stephanie Fisher" userId="4a8d9212-f9a0-4b32-979f-fab227be859c" providerId="ADAL" clId="{69E9E868-23A9-4691-AE10-ADB75BDEA608}" dt="2023-03-10T19:16:50.109" v="760" actId="255"/>
        <pc:sldMkLst>
          <pc:docMk/>
          <pc:sldMk cId="461057729" sldId="4690"/>
        </pc:sldMkLst>
        <pc:spChg chg="mod">
          <ac:chgData name="Stephanie Fisher" userId="4a8d9212-f9a0-4b32-979f-fab227be859c" providerId="ADAL" clId="{69E9E868-23A9-4691-AE10-ADB75BDEA608}" dt="2023-03-10T18:48:14.433" v="435" actId="1076"/>
          <ac:spMkLst>
            <pc:docMk/>
            <pc:sldMk cId="461057729" sldId="4690"/>
            <ac:spMk id="3" creationId="{C2F609DB-B5A6-3631-6634-E3937A752E6D}"/>
          </ac:spMkLst>
        </pc:spChg>
        <pc:spChg chg="del mod">
          <ac:chgData name="Stephanie Fisher" userId="4a8d9212-f9a0-4b32-979f-fab227be859c" providerId="ADAL" clId="{69E9E868-23A9-4691-AE10-ADB75BDEA608}" dt="2023-03-10T18:43:55.961" v="389"/>
          <ac:spMkLst>
            <pc:docMk/>
            <pc:sldMk cId="461057729" sldId="4690"/>
            <ac:spMk id="5" creationId="{37CD13F0-01C3-798C-F402-804A1E387452}"/>
          </ac:spMkLst>
        </pc:spChg>
        <pc:graphicFrameChg chg="mod modGraphic">
          <ac:chgData name="Stephanie Fisher" userId="4a8d9212-f9a0-4b32-979f-fab227be859c" providerId="ADAL" clId="{69E9E868-23A9-4691-AE10-ADB75BDEA608}" dt="2023-03-10T19:16:50.109" v="760" actId="255"/>
          <ac:graphicFrameMkLst>
            <pc:docMk/>
            <pc:sldMk cId="461057729" sldId="4690"/>
            <ac:graphicFrameMk id="4" creationId="{A2ECFAED-573B-233A-3279-3825FEFC0406}"/>
          </ac:graphicFrameMkLst>
        </pc:graphicFrameChg>
      </pc:sldChg>
      <pc:sldChg chg="delSp modSp mod setBg">
        <pc:chgData name="Stephanie Fisher" userId="4a8d9212-f9a0-4b32-979f-fab227be859c" providerId="ADAL" clId="{69E9E868-23A9-4691-AE10-ADB75BDEA608}" dt="2023-03-10T18:28:36.934" v="305" actId="14100"/>
        <pc:sldMkLst>
          <pc:docMk/>
          <pc:sldMk cId="28226091" sldId="4691"/>
        </pc:sldMkLst>
        <pc:spChg chg="mod">
          <ac:chgData name="Stephanie Fisher" userId="4a8d9212-f9a0-4b32-979f-fab227be859c" providerId="ADAL" clId="{69E9E868-23A9-4691-AE10-ADB75BDEA608}" dt="2023-03-10T18:27:07.357" v="285" actId="1076"/>
          <ac:spMkLst>
            <pc:docMk/>
            <pc:sldMk cId="28226091" sldId="4691"/>
            <ac:spMk id="2" creationId="{A67C9A86-07DB-7B1B-5488-9F93BF847946}"/>
          </ac:spMkLst>
        </pc:spChg>
        <pc:spChg chg="mod">
          <ac:chgData name="Stephanie Fisher" userId="4a8d9212-f9a0-4b32-979f-fab227be859c" providerId="ADAL" clId="{69E9E868-23A9-4691-AE10-ADB75BDEA608}" dt="2023-03-10T18:26:53.505" v="281" actId="1076"/>
          <ac:spMkLst>
            <pc:docMk/>
            <pc:sldMk cId="28226091" sldId="4691"/>
            <ac:spMk id="3" creationId="{33AC3F93-EFB6-2037-710B-8BFF988A944E}"/>
          </ac:spMkLst>
        </pc:spChg>
        <pc:spChg chg="mod">
          <ac:chgData name="Stephanie Fisher" userId="4a8d9212-f9a0-4b32-979f-fab227be859c" providerId="ADAL" clId="{69E9E868-23A9-4691-AE10-ADB75BDEA608}" dt="2023-03-10T18:28:34.441" v="304" actId="14100"/>
          <ac:spMkLst>
            <pc:docMk/>
            <pc:sldMk cId="28226091" sldId="4691"/>
            <ac:spMk id="9" creationId="{A5AE5383-A361-7531-07F6-4DF694081667}"/>
          </ac:spMkLst>
        </pc:spChg>
        <pc:spChg chg="mod">
          <ac:chgData name="Stephanie Fisher" userId="4a8d9212-f9a0-4b32-979f-fab227be859c" providerId="ADAL" clId="{69E9E868-23A9-4691-AE10-ADB75BDEA608}" dt="2023-03-10T18:28:36.934" v="305" actId="14100"/>
          <ac:spMkLst>
            <pc:docMk/>
            <pc:sldMk cId="28226091" sldId="4691"/>
            <ac:spMk id="10" creationId="{1C79EBDB-012B-578E-6A6A-AA73E5D8316C}"/>
          </ac:spMkLst>
        </pc:spChg>
        <pc:spChg chg="mod">
          <ac:chgData name="Stephanie Fisher" userId="4a8d9212-f9a0-4b32-979f-fab227be859c" providerId="ADAL" clId="{69E9E868-23A9-4691-AE10-ADB75BDEA608}" dt="2023-03-10T18:28:30.984" v="303" actId="14100"/>
          <ac:spMkLst>
            <pc:docMk/>
            <pc:sldMk cId="28226091" sldId="4691"/>
            <ac:spMk id="11" creationId="{85F95560-7B6D-4751-820F-B556E2C5108B}"/>
          </ac:spMkLst>
        </pc:spChg>
        <pc:spChg chg="mod">
          <ac:chgData name="Stephanie Fisher" userId="4a8d9212-f9a0-4b32-979f-fab227be859c" providerId="ADAL" clId="{69E9E868-23A9-4691-AE10-ADB75BDEA608}" dt="2023-03-10T18:28:28.009" v="302" actId="14100"/>
          <ac:spMkLst>
            <pc:docMk/>
            <pc:sldMk cId="28226091" sldId="4691"/>
            <ac:spMk id="12" creationId="{6C2D8BEA-602F-C791-BE07-A2B44DCB1D52}"/>
          </ac:spMkLst>
        </pc:spChg>
        <pc:spChg chg="mod">
          <ac:chgData name="Stephanie Fisher" userId="4a8d9212-f9a0-4b32-979f-fab227be859c" providerId="ADAL" clId="{69E9E868-23A9-4691-AE10-ADB75BDEA608}" dt="2023-03-10T18:28:24.968" v="301" actId="14100"/>
          <ac:spMkLst>
            <pc:docMk/>
            <pc:sldMk cId="28226091" sldId="4691"/>
            <ac:spMk id="13" creationId="{225F0873-3354-EEBF-2AF9-0A9C3F430AF3}"/>
          </ac:spMkLst>
        </pc:spChg>
        <pc:spChg chg="del mod">
          <ac:chgData name="Stephanie Fisher" userId="4a8d9212-f9a0-4b32-979f-fab227be859c" providerId="ADAL" clId="{69E9E868-23A9-4691-AE10-ADB75BDEA608}" dt="2023-03-10T18:26:05.225" v="271"/>
          <ac:spMkLst>
            <pc:docMk/>
            <pc:sldMk cId="28226091" sldId="4691"/>
            <ac:spMk id="30" creationId="{0E02DA4F-845B-F83E-284D-92ECD0459CE6}"/>
          </ac:spMkLst>
        </pc:spChg>
      </pc:sldChg>
      <pc:sldChg chg="addSp delSp modSp mod setBg">
        <pc:chgData name="Stephanie Fisher" userId="4a8d9212-f9a0-4b32-979f-fab227be859c" providerId="ADAL" clId="{69E9E868-23A9-4691-AE10-ADB75BDEA608}" dt="2023-03-10T19:16:22.611" v="758" actId="5793"/>
        <pc:sldMkLst>
          <pc:docMk/>
          <pc:sldMk cId="3976314814" sldId="4692"/>
        </pc:sldMkLst>
        <pc:spChg chg="mod">
          <ac:chgData name="Stephanie Fisher" userId="4a8d9212-f9a0-4b32-979f-fab227be859c" providerId="ADAL" clId="{69E9E868-23A9-4691-AE10-ADB75BDEA608}" dt="2023-03-10T18:23:34.637" v="251" actId="207"/>
          <ac:spMkLst>
            <pc:docMk/>
            <pc:sldMk cId="3976314814" sldId="4692"/>
            <ac:spMk id="3" creationId="{EFF0B061-F37E-6B0C-C1F7-32C61C65DB7D}"/>
          </ac:spMkLst>
        </pc:spChg>
        <pc:spChg chg="mod">
          <ac:chgData name="Stephanie Fisher" userId="4a8d9212-f9a0-4b32-979f-fab227be859c" providerId="ADAL" clId="{69E9E868-23A9-4691-AE10-ADB75BDEA608}" dt="2023-03-10T18:15:54.867" v="193"/>
          <ac:spMkLst>
            <pc:docMk/>
            <pc:sldMk cId="3976314814" sldId="4692"/>
            <ac:spMk id="4" creationId="{2D7D31D4-DEAD-97F5-085B-79DFE8445164}"/>
          </ac:spMkLst>
        </pc:spChg>
        <pc:spChg chg="del">
          <ac:chgData name="Stephanie Fisher" userId="4a8d9212-f9a0-4b32-979f-fab227be859c" providerId="ADAL" clId="{69E9E868-23A9-4691-AE10-ADB75BDEA608}" dt="2023-03-10T18:15:51.716" v="191" actId="478"/>
          <ac:spMkLst>
            <pc:docMk/>
            <pc:sldMk cId="3976314814" sldId="4692"/>
            <ac:spMk id="11" creationId="{427B1C02-C201-3A40-7FD1-D0019DA59270}"/>
          </ac:spMkLst>
        </pc:spChg>
        <pc:spChg chg="add del mod">
          <ac:chgData name="Stephanie Fisher" userId="4a8d9212-f9a0-4b32-979f-fab227be859c" providerId="ADAL" clId="{69E9E868-23A9-4691-AE10-ADB75BDEA608}" dt="2023-03-10T18:16:02.177" v="195" actId="478"/>
          <ac:spMkLst>
            <pc:docMk/>
            <pc:sldMk cId="3976314814" sldId="4692"/>
            <ac:spMk id="13" creationId="{1F51B5DF-3743-C8A7-B82F-9F67AAC7DE78}"/>
          </ac:spMkLst>
        </pc:spChg>
        <pc:spChg chg="mod">
          <ac:chgData name="Stephanie Fisher" userId="4a8d9212-f9a0-4b32-979f-fab227be859c" providerId="ADAL" clId="{69E9E868-23A9-4691-AE10-ADB75BDEA608}" dt="2023-03-10T19:16:22.611" v="758" actId="5793"/>
          <ac:spMkLst>
            <pc:docMk/>
            <pc:sldMk cId="3976314814" sldId="4692"/>
            <ac:spMk id="14" creationId="{FC5D7301-250C-E53F-BF61-60E373E897FC}"/>
          </ac:spMkLst>
        </pc:spChg>
        <pc:spChg chg="mod">
          <ac:chgData name="Stephanie Fisher" userId="4a8d9212-f9a0-4b32-979f-fab227be859c" providerId="ADAL" clId="{69E9E868-23A9-4691-AE10-ADB75BDEA608}" dt="2023-03-10T18:15:54.867" v="193"/>
          <ac:spMkLst>
            <pc:docMk/>
            <pc:sldMk cId="3976314814" sldId="4692"/>
            <ac:spMk id="15" creationId="{7AFA436A-81A2-2116-E28E-7560C6E7628B}"/>
          </ac:spMkLst>
        </pc:spChg>
        <pc:spChg chg="mod">
          <ac:chgData name="Stephanie Fisher" userId="4a8d9212-f9a0-4b32-979f-fab227be859c" providerId="ADAL" clId="{69E9E868-23A9-4691-AE10-ADB75BDEA608}" dt="2023-03-10T18:15:54.867" v="193"/>
          <ac:spMkLst>
            <pc:docMk/>
            <pc:sldMk cId="3976314814" sldId="4692"/>
            <ac:spMk id="16" creationId="{A77BF507-2B87-7133-9CEF-F7009C90CEB7}"/>
          </ac:spMkLst>
        </pc:spChg>
        <pc:spChg chg="mod">
          <ac:chgData name="Stephanie Fisher" userId="4a8d9212-f9a0-4b32-979f-fab227be859c" providerId="ADAL" clId="{69E9E868-23A9-4691-AE10-ADB75BDEA608}" dt="2023-03-10T18:15:54.867" v="193"/>
          <ac:spMkLst>
            <pc:docMk/>
            <pc:sldMk cId="3976314814" sldId="4692"/>
            <ac:spMk id="17" creationId="{3A45D309-1E3E-9326-FE97-5DFD0FF8F369}"/>
          </ac:spMkLst>
        </pc:spChg>
        <pc:spChg chg="mod">
          <ac:chgData name="Stephanie Fisher" userId="4a8d9212-f9a0-4b32-979f-fab227be859c" providerId="ADAL" clId="{69E9E868-23A9-4691-AE10-ADB75BDEA608}" dt="2023-03-10T18:15:54.867" v="193"/>
          <ac:spMkLst>
            <pc:docMk/>
            <pc:sldMk cId="3976314814" sldId="4692"/>
            <ac:spMk id="18" creationId="{D13F3F48-D8DC-9DB1-5D0B-B05745ED8881}"/>
          </ac:spMkLst>
        </pc:spChg>
        <pc:spChg chg="add del">
          <ac:chgData name="Stephanie Fisher" userId="4a8d9212-f9a0-4b32-979f-fab227be859c" providerId="ADAL" clId="{69E9E868-23A9-4691-AE10-ADB75BDEA608}" dt="2023-03-10T18:16:07.820" v="197" actId="26606"/>
          <ac:spMkLst>
            <pc:docMk/>
            <pc:sldMk cId="3976314814" sldId="4692"/>
            <ac:spMk id="19" creationId="{743AA782-23D1-4521-8CAD-47662984AA08}"/>
          </ac:spMkLst>
        </pc:spChg>
        <pc:spChg chg="mod">
          <ac:chgData name="Stephanie Fisher" userId="4a8d9212-f9a0-4b32-979f-fab227be859c" providerId="ADAL" clId="{69E9E868-23A9-4691-AE10-ADB75BDEA608}" dt="2023-03-10T18:15:54.867" v="193"/>
          <ac:spMkLst>
            <pc:docMk/>
            <pc:sldMk cId="3976314814" sldId="4692"/>
            <ac:spMk id="20" creationId="{1FA1939E-B78C-F7BE-0B0D-BBED0DE0C980}"/>
          </ac:spMkLst>
        </pc:spChg>
        <pc:spChg chg="add del">
          <ac:chgData name="Stephanie Fisher" userId="4a8d9212-f9a0-4b32-979f-fab227be859c" providerId="ADAL" clId="{69E9E868-23A9-4691-AE10-ADB75BDEA608}" dt="2023-03-10T18:16:07.820" v="197" actId="26606"/>
          <ac:spMkLst>
            <pc:docMk/>
            <pc:sldMk cId="3976314814" sldId="4692"/>
            <ac:spMk id="21" creationId="{650D18FE-0824-4A46-B22C-A86B52E5780A}"/>
          </ac:spMkLst>
        </pc:spChg>
        <pc:spChg chg="mod">
          <ac:chgData name="Stephanie Fisher" userId="4a8d9212-f9a0-4b32-979f-fab227be859c" providerId="ADAL" clId="{69E9E868-23A9-4691-AE10-ADB75BDEA608}" dt="2023-03-10T18:20:31.209" v="230"/>
          <ac:spMkLst>
            <pc:docMk/>
            <pc:sldMk cId="3976314814" sldId="4692"/>
            <ac:spMk id="23" creationId="{B2C584EE-4FB8-3B05-3799-46C435974B4F}"/>
          </ac:spMkLst>
        </pc:spChg>
        <pc:spChg chg="mod">
          <ac:chgData name="Stephanie Fisher" userId="4a8d9212-f9a0-4b32-979f-fab227be859c" providerId="ADAL" clId="{69E9E868-23A9-4691-AE10-ADB75BDEA608}" dt="2023-03-10T18:24:01.930" v="253" actId="207"/>
          <ac:spMkLst>
            <pc:docMk/>
            <pc:sldMk cId="3976314814" sldId="4692"/>
            <ac:spMk id="24" creationId="{A141B127-4BBE-D02D-0D27-C28FBA882E38}"/>
          </ac:spMkLst>
        </pc:spChg>
        <pc:spChg chg="mod">
          <ac:chgData name="Stephanie Fisher" userId="4a8d9212-f9a0-4b32-979f-fab227be859c" providerId="ADAL" clId="{69E9E868-23A9-4691-AE10-ADB75BDEA608}" dt="2023-03-10T18:22:45.384" v="248" actId="207"/>
          <ac:spMkLst>
            <pc:docMk/>
            <pc:sldMk cId="3976314814" sldId="4692"/>
            <ac:spMk id="25" creationId="{4558D7F4-8A9C-FD19-B1B7-039D2AC65602}"/>
          </ac:spMkLst>
        </pc:spChg>
        <pc:spChg chg="add">
          <ac:chgData name="Stephanie Fisher" userId="4a8d9212-f9a0-4b32-979f-fab227be859c" providerId="ADAL" clId="{69E9E868-23A9-4691-AE10-ADB75BDEA608}" dt="2023-03-10T18:16:07.820" v="197" actId="26606"/>
          <ac:spMkLst>
            <pc:docMk/>
            <pc:sldMk cId="3976314814" sldId="4692"/>
            <ac:spMk id="26" creationId="{100EDD19-6802-4EC3-95CE-CFFAB042CFD6}"/>
          </ac:spMkLst>
        </pc:spChg>
        <pc:spChg chg="mod">
          <ac:chgData name="Stephanie Fisher" userId="4a8d9212-f9a0-4b32-979f-fab227be859c" providerId="ADAL" clId="{69E9E868-23A9-4691-AE10-ADB75BDEA608}" dt="2023-03-10T18:20:48.517" v="233" actId="207"/>
          <ac:spMkLst>
            <pc:docMk/>
            <pc:sldMk cId="3976314814" sldId="4692"/>
            <ac:spMk id="27" creationId="{E2327CD7-F560-A0FD-AE01-419A35AC10A2}"/>
          </ac:spMkLst>
        </pc:spChg>
        <pc:spChg chg="add">
          <ac:chgData name="Stephanie Fisher" userId="4a8d9212-f9a0-4b32-979f-fab227be859c" providerId="ADAL" clId="{69E9E868-23A9-4691-AE10-ADB75BDEA608}" dt="2023-03-10T18:16:07.820" v="197" actId="26606"/>
          <ac:spMkLst>
            <pc:docMk/>
            <pc:sldMk cId="3976314814" sldId="4692"/>
            <ac:spMk id="28" creationId="{DB17E863-922E-4C26-BD64-E8FD41D28661}"/>
          </ac:spMkLst>
        </pc:spChg>
        <pc:spChg chg="mod">
          <ac:chgData name="Stephanie Fisher" userId="4a8d9212-f9a0-4b32-979f-fab227be859c" providerId="ADAL" clId="{69E9E868-23A9-4691-AE10-ADB75BDEA608}" dt="2023-03-10T18:21:42.076" v="242" actId="207"/>
          <ac:spMkLst>
            <pc:docMk/>
            <pc:sldMk cId="3976314814" sldId="4692"/>
            <ac:spMk id="29" creationId="{DE9B98E1-2C64-1658-3471-1A06DA22B2E6}"/>
          </ac:spMkLst>
        </pc:spChg>
        <pc:spChg chg="mod">
          <ac:chgData name="Stephanie Fisher" userId="4a8d9212-f9a0-4b32-979f-fab227be859c" providerId="ADAL" clId="{69E9E868-23A9-4691-AE10-ADB75BDEA608}" dt="2023-03-10T18:21:08.085" v="236" actId="207"/>
          <ac:spMkLst>
            <pc:docMk/>
            <pc:sldMk cId="3976314814" sldId="4692"/>
            <ac:spMk id="30" creationId="{D155B82E-42E6-4C6D-ECEF-C35A6EA3BB01}"/>
          </ac:spMkLst>
        </pc:spChg>
        <pc:spChg chg="mod">
          <ac:chgData name="Stephanie Fisher" userId="4a8d9212-f9a0-4b32-979f-fab227be859c" providerId="ADAL" clId="{69E9E868-23A9-4691-AE10-ADB75BDEA608}" dt="2023-03-10T18:21:58.498" v="246" actId="207"/>
          <ac:spMkLst>
            <pc:docMk/>
            <pc:sldMk cId="3976314814" sldId="4692"/>
            <ac:spMk id="31" creationId="{E7089A78-46C0-92D3-F2B5-34FD206CB996}"/>
          </ac:spMkLst>
        </pc:spChg>
        <pc:grpChg chg="add del mod">
          <ac:chgData name="Stephanie Fisher" userId="4a8d9212-f9a0-4b32-979f-fab227be859c" providerId="ADAL" clId="{69E9E868-23A9-4691-AE10-ADB75BDEA608}" dt="2023-03-10T18:16:02.669" v="196"/>
          <ac:grpSpMkLst>
            <pc:docMk/>
            <pc:sldMk cId="3976314814" sldId="4692"/>
            <ac:grpSpMk id="2" creationId="{5C249581-1A35-36C3-862E-552ACD821025}"/>
          </ac:grpSpMkLst>
        </pc:grpChg>
        <pc:grpChg chg="add del mod ord">
          <ac:chgData name="Stephanie Fisher" userId="4a8d9212-f9a0-4b32-979f-fab227be859c" providerId="ADAL" clId="{69E9E868-23A9-4691-AE10-ADB75BDEA608}" dt="2023-03-10T18:15:53.768" v="192" actId="478"/>
          <ac:grpSpMkLst>
            <pc:docMk/>
            <pc:sldMk cId="3976314814" sldId="4692"/>
            <ac:grpSpMk id="5" creationId="{24B997F0-43DF-E77F-32CA-A08A05046224}"/>
          </ac:grpSpMkLst>
        </pc:grpChg>
        <pc:grpChg chg="add mod">
          <ac:chgData name="Stephanie Fisher" userId="4a8d9212-f9a0-4b32-979f-fab227be859c" providerId="ADAL" clId="{69E9E868-23A9-4691-AE10-ADB75BDEA608}" dt="2023-03-10T18:21:25.796" v="240" actId="1076"/>
          <ac:grpSpMkLst>
            <pc:docMk/>
            <pc:sldMk cId="3976314814" sldId="4692"/>
            <ac:grpSpMk id="22" creationId="{DB50EFBC-8AD4-20ED-FB4E-EB88777C9EE8}"/>
          </ac:grpSpMkLst>
        </pc:grpChg>
      </pc:sldChg>
      <pc:sldChg chg="delSp add del setBg delDesignElem">
        <pc:chgData name="Stephanie Fisher" userId="4a8d9212-f9a0-4b32-979f-fab227be859c" providerId="ADAL" clId="{69E9E868-23A9-4691-AE10-ADB75BDEA608}" dt="2023-03-10T19:12:22.265" v="676" actId="47"/>
        <pc:sldMkLst>
          <pc:docMk/>
          <pc:sldMk cId="2100496084" sldId="4693"/>
        </pc:sldMkLst>
        <pc:spChg chg="del">
          <ac:chgData name="Stephanie Fisher" userId="4a8d9212-f9a0-4b32-979f-fab227be859c" providerId="ADAL" clId="{69E9E868-23A9-4691-AE10-ADB75BDEA608}" dt="2023-03-10T19:12:15.504" v="675"/>
          <ac:spMkLst>
            <pc:docMk/>
            <pc:sldMk cId="2100496084" sldId="4693"/>
            <ac:spMk id="326" creationId="{F13C74B1-5B17-4795-BED0-7140497B445A}"/>
          </ac:spMkLst>
        </pc:spChg>
        <pc:spChg chg="del">
          <ac:chgData name="Stephanie Fisher" userId="4a8d9212-f9a0-4b32-979f-fab227be859c" providerId="ADAL" clId="{69E9E868-23A9-4691-AE10-ADB75BDEA608}" dt="2023-03-10T19:12:15.504" v="675"/>
          <ac:spMkLst>
            <pc:docMk/>
            <pc:sldMk cId="2100496084" sldId="4693"/>
            <ac:spMk id="328" creationId="{D4974D33-8DC5-464E-8C6D-BE58F0669C17}"/>
          </ac:spMkLst>
        </pc:spChg>
      </pc:sldChg>
      <pc:sldMasterChg chg="delSldLayout">
        <pc:chgData name="Stephanie Fisher" userId="4a8d9212-f9a0-4b32-979f-fab227be859c" providerId="ADAL" clId="{69E9E868-23A9-4691-AE10-ADB75BDEA608}" dt="2023-03-10T19:14:33.743" v="717" actId="47"/>
        <pc:sldMasterMkLst>
          <pc:docMk/>
          <pc:sldMasterMk cId="3686964286" sldId="2147483963"/>
        </pc:sldMasterMkLst>
        <pc:sldLayoutChg chg="del">
          <pc:chgData name="Stephanie Fisher" userId="4a8d9212-f9a0-4b32-979f-fab227be859c" providerId="ADAL" clId="{69E9E868-23A9-4691-AE10-ADB75BDEA608}" dt="2023-03-10T19:13:10.372" v="681" actId="47"/>
          <pc:sldLayoutMkLst>
            <pc:docMk/>
            <pc:sldMasterMk cId="3686964286" sldId="2147483963"/>
            <pc:sldLayoutMk cId="2106209719" sldId="2147483975"/>
          </pc:sldLayoutMkLst>
        </pc:sldLayoutChg>
        <pc:sldLayoutChg chg="del">
          <pc:chgData name="Stephanie Fisher" userId="4a8d9212-f9a0-4b32-979f-fab227be859c" providerId="ADAL" clId="{69E9E868-23A9-4691-AE10-ADB75BDEA608}" dt="2023-03-10T19:13:40.769" v="685" actId="47"/>
          <pc:sldLayoutMkLst>
            <pc:docMk/>
            <pc:sldMasterMk cId="3686964286" sldId="2147483963"/>
            <pc:sldLayoutMk cId="2538055179" sldId="2147483977"/>
          </pc:sldLayoutMkLst>
        </pc:sldLayoutChg>
        <pc:sldLayoutChg chg="del">
          <pc:chgData name="Stephanie Fisher" userId="4a8d9212-f9a0-4b32-979f-fab227be859c" providerId="ADAL" clId="{69E9E868-23A9-4691-AE10-ADB75BDEA608}" dt="2023-03-10T19:13:51.833" v="686" actId="47"/>
          <pc:sldLayoutMkLst>
            <pc:docMk/>
            <pc:sldMasterMk cId="3686964286" sldId="2147483963"/>
            <pc:sldLayoutMk cId="2789085024" sldId="2147483978"/>
          </pc:sldLayoutMkLst>
        </pc:sldLayoutChg>
        <pc:sldLayoutChg chg="del">
          <pc:chgData name="Stephanie Fisher" userId="4a8d9212-f9a0-4b32-979f-fab227be859c" providerId="ADAL" clId="{69E9E868-23A9-4691-AE10-ADB75BDEA608}" dt="2023-03-10T19:14:33.743" v="717" actId="47"/>
          <pc:sldLayoutMkLst>
            <pc:docMk/>
            <pc:sldMasterMk cId="3686964286" sldId="2147483963"/>
            <pc:sldLayoutMk cId="323921544" sldId="2147483979"/>
          </pc:sldLayoutMkLst>
        </pc:sldLayoutChg>
        <pc:sldLayoutChg chg="del">
          <pc:chgData name="Stephanie Fisher" userId="4a8d9212-f9a0-4b32-979f-fab227be859c" providerId="ADAL" clId="{69E9E868-23A9-4691-AE10-ADB75BDEA608}" dt="2023-03-10T19:14:32.684" v="714" actId="47"/>
          <pc:sldLayoutMkLst>
            <pc:docMk/>
            <pc:sldMasterMk cId="3686964286" sldId="2147483963"/>
            <pc:sldLayoutMk cId="2576371205" sldId="2147483980"/>
          </pc:sldLayoutMkLst>
        </pc:sldLayoutChg>
      </pc:sldMasterChg>
    </pc:docChg>
  </pc:docChgLst>
  <pc:docChgLst>
    <pc:chgData name="Guest User" userId="S::urn:spo:anon#8599c54ba24779f655a4039443b833457fa2f9138fb5aced0ca30efd9ff5390c::" providerId="AD" clId="Web-{A7221F95-CFBF-F4B0-0927-6DD2BF68F5FC}"/>
    <pc:docChg chg="delSld modSection">
      <pc:chgData name="Guest User" userId="S::urn:spo:anon#8599c54ba24779f655a4039443b833457fa2f9138fb5aced0ca30efd9ff5390c::" providerId="AD" clId="Web-{A7221F95-CFBF-F4B0-0927-6DD2BF68F5FC}" dt="2023-02-22T15:26:06.039" v="0"/>
      <pc:docMkLst>
        <pc:docMk/>
      </pc:docMkLst>
      <pc:sldChg chg="del">
        <pc:chgData name="Guest User" userId="S::urn:spo:anon#8599c54ba24779f655a4039443b833457fa2f9138fb5aced0ca30efd9ff5390c::" providerId="AD" clId="Web-{A7221F95-CFBF-F4B0-0927-6DD2BF68F5FC}" dt="2023-02-22T15:26:06.039" v="0"/>
        <pc:sldMkLst>
          <pc:docMk/>
          <pc:sldMk cId="1842672227" sldId="353"/>
        </pc:sldMkLst>
      </pc:sld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https://www.investopedia.com/terms/s/syndicate.asp"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www.investopedia.com/terms/s/syndicate.asp" TargetMode="Externa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FAC202-95F1-5B43-AC41-40CFAE61B4B5}" type="doc">
      <dgm:prSet loTypeId="urn:microsoft.com/office/officeart/2008/layout/VerticalCurvedList" loCatId="" qsTypeId="urn:microsoft.com/office/officeart/2005/8/quickstyle/simple1" qsCatId="simple" csTypeId="urn:microsoft.com/office/officeart/2005/8/colors/colorful4" csCatId="colorful" phldr="1"/>
      <dgm:spPr/>
      <dgm:t>
        <a:bodyPr/>
        <a:lstStyle/>
        <a:p>
          <a:endParaRPr lang="en-US"/>
        </a:p>
      </dgm:t>
    </dgm:pt>
    <dgm:pt modelId="{60F054BD-215F-4B42-AB57-B322AB53BD94}">
      <dgm:prSet phldrT="[Text]" custT="1"/>
      <dgm:spPr>
        <a:solidFill>
          <a:schemeClr val="accent2"/>
        </a:solidFill>
      </dgm:spPr>
      <dgm:t>
        <a:bodyPr/>
        <a:lstStyle/>
        <a:p>
          <a:r>
            <a:rPr lang="en-US" sz="1400" b="1" i="0" dirty="0">
              <a:solidFill>
                <a:schemeClr val="tx1"/>
              </a:solidFill>
              <a:effectLst/>
              <a:latin typeface="Arial" panose="020B0604020202020204" pitchFamily="34" charset="0"/>
              <a:cs typeface="Arial" panose="020B0604020202020204" pitchFamily="34" charset="0"/>
            </a:rPr>
            <a:t>It is generally a secondary market transaction after the initial funding has occurred.</a:t>
          </a:r>
          <a:endParaRPr lang="en-US" sz="1400" b="1" dirty="0">
            <a:solidFill>
              <a:schemeClr val="tx1"/>
            </a:solidFill>
            <a:latin typeface="Arial" panose="020B0604020202020204" pitchFamily="34" charset="0"/>
            <a:cs typeface="Arial" panose="020B0604020202020204" pitchFamily="34" charset="0"/>
          </a:endParaRPr>
        </a:p>
      </dgm:t>
    </dgm:pt>
    <dgm:pt modelId="{152F2A3A-6494-6F41-A5C8-4DC6B1498716}" type="parTrans" cxnId="{D98FFBDB-3FE5-D643-8865-5D0DA5B2F2D1}">
      <dgm:prSet/>
      <dgm:spPr/>
      <dgm:t>
        <a:bodyPr/>
        <a:lstStyle/>
        <a:p>
          <a:endParaRPr lang="en-US" sz="1250">
            <a:solidFill>
              <a:srgbClr val="FFFFFF"/>
            </a:solidFill>
            <a:latin typeface="Arial" panose="020B0604020202020204" pitchFamily="34" charset="0"/>
            <a:cs typeface="Arial" panose="020B0604020202020204" pitchFamily="34" charset="0"/>
          </a:endParaRPr>
        </a:p>
      </dgm:t>
    </dgm:pt>
    <dgm:pt modelId="{196CA0BF-0D68-EA47-BC4B-4E97CB6A9C95}" type="sibTrans" cxnId="{D98FFBDB-3FE5-D643-8865-5D0DA5B2F2D1}">
      <dgm:prSet/>
      <dgm:spPr>
        <a:solidFill>
          <a:schemeClr val="bg1"/>
        </a:solidFill>
        <a:ln>
          <a:noFill/>
        </a:ln>
      </dgm:spPr>
      <dgm:t>
        <a:bodyPr/>
        <a:lstStyle/>
        <a:p>
          <a:endParaRPr lang="en-US" sz="1250">
            <a:solidFill>
              <a:srgbClr val="FFFFFF"/>
            </a:solidFill>
            <a:latin typeface="Arial" panose="020B0604020202020204" pitchFamily="34" charset="0"/>
            <a:cs typeface="Arial" panose="020B0604020202020204" pitchFamily="34" charset="0"/>
          </a:endParaRPr>
        </a:p>
      </dgm:t>
    </dgm:pt>
    <dgm:pt modelId="{3CB15D0B-537C-4F4D-9E1B-6C3354BEA379}">
      <dgm:prSet phldrT="[Text]" custT="1"/>
      <dgm:spPr>
        <a:solidFill>
          <a:schemeClr val="tx2">
            <a:lumMod val="50000"/>
          </a:schemeClr>
        </a:solidFill>
      </dgm:spPr>
      <dgm:t>
        <a:bodyPr/>
        <a:lstStyle/>
        <a:p>
          <a:r>
            <a:rPr lang="en-US" sz="1300" b="1" i="0" dirty="0">
              <a:solidFill>
                <a:schemeClr val="tx1"/>
              </a:solidFill>
              <a:effectLst/>
              <a:latin typeface="+mn-lt"/>
              <a:cs typeface="Arial" panose="020B0604020202020204" pitchFamily="34" charset="0"/>
            </a:rPr>
            <a:t>It mostly occurs when the requested loan amount is too large for a single lender, when the loan is outside the scope of a lender's risk exposure levels or when the lender wants to generate fee income by accelerating the profit in the transaction.</a:t>
          </a:r>
          <a:endParaRPr lang="en-US" sz="1300" b="1" dirty="0">
            <a:solidFill>
              <a:schemeClr val="tx1"/>
            </a:solidFill>
            <a:latin typeface="+mn-lt"/>
            <a:cs typeface="Arial" panose="020B0604020202020204" pitchFamily="34" charset="0"/>
          </a:endParaRPr>
        </a:p>
      </dgm:t>
    </dgm:pt>
    <dgm:pt modelId="{62AE480F-3E5E-7F41-BCEC-FD8988487276}" type="parTrans" cxnId="{202D385E-E413-284E-A382-A8AFFF06AEFD}">
      <dgm:prSet/>
      <dgm:spPr/>
      <dgm:t>
        <a:bodyPr/>
        <a:lstStyle/>
        <a:p>
          <a:endParaRPr lang="en-US" sz="1250">
            <a:solidFill>
              <a:srgbClr val="FFFFFF"/>
            </a:solidFill>
            <a:latin typeface="Arial" panose="020B0604020202020204" pitchFamily="34" charset="0"/>
            <a:cs typeface="Arial" panose="020B0604020202020204" pitchFamily="34" charset="0"/>
          </a:endParaRPr>
        </a:p>
      </dgm:t>
    </dgm:pt>
    <dgm:pt modelId="{8D7E5D7B-C59E-1147-ABAB-A4D5307C0516}" type="sibTrans" cxnId="{202D385E-E413-284E-A382-A8AFFF06AEFD}">
      <dgm:prSet/>
      <dgm:spPr/>
      <dgm:t>
        <a:bodyPr/>
        <a:lstStyle/>
        <a:p>
          <a:endParaRPr lang="en-US" sz="1250">
            <a:solidFill>
              <a:srgbClr val="FFFFFF"/>
            </a:solidFill>
            <a:latin typeface="Arial" panose="020B0604020202020204" pitchFamily="34" charset="0"/>
            <a:cs typeface="Arial" panose="020B0604020202020204" pitchFamily="34" charset="0"/>
          </a:endParaRPr>
        </a:p>
      </dgm:t>
    </dgm:pt>
    <dgm:pt modelId="{C3997687-101D-4149-81F6-67A8F52028DA}">
      <dgm:prSet phldrT="[Text]" custT="1"/>
      <dgm:spPr>
        <a:solidFill>
          <a:schemeClr val="accent5"/>
        </a:solidFill>
      </dgm:spPr>
      <dgm:t>
        <a:bodyPr/>
        <a:lstStyle/>
        <a:p>
          <a:r>
            <a:rPr lang="en-US" sz="1400" b="1" i="0" dirty="0">
              <a:solidFill>
                <a:srgbClr val="FFFFFF"/>
              </a:solidFill>
              <a:effectLst/>
              <a:latin typeface="+mn-lt"/>
              <a:cs typeface="Arial" panose="020B0604020202020204" pitchFamily="34" charset="0"/>
            </a:rPr>
            <a:t>Multiple lenders pool together and form a </a:t>
          </a:r>
          <a:r>
            <a:rPr lang="en-US" sz="1400" b="1" i="0" u="sng" dirty="0">
              <a:solidFill>
                <a:srgbClr val="FFFFFF"/>
              </a:solidFill>
              <a:effectLst/>
              <a:latin typeface="+mn-lt"/>
              <a:cs typeface="Arial" panose="020B0604020202020204" pitchFamily="34" charset="0"/>
              <a:hlinkClick xmlns:r="http://schemas.openxmlformats.org/officeDocument/2006/relationships" r:id="rId1">
                <a:extLst>
                  <a:ext uri="{A12FA001-AC4F-418D-AE19-62706E023703}">
                    <ahyp:hlinkClr xmlns:ahyp="http://schemas.microsoft.com/office/drawing/2018/hyperlinkcolor" val="tx"/>
                  </a:ext>
                </a:extLst>
              </a:hlinkClick>
            </a:rPr>
            <a:t>syndicate</a:t>
          </a:r>
          <a:r>
            <a:rPr lang="en-US" sz="1400" b="1" i="0" dirty="0">
              <a:solidFill>
                <a:srgbClr val="FFFFFF"/>
              </a:solidFill>
              <a:effectLst/>
              <a:latin typeface="+mn-lt"/>
              <a:cs typeface="Arial" panose="020B0604020202020204" pitchFamily="34" charset="0"/>
            </a:rPr>
            <a:t> to provide the borrower with the requested capital.</a:t>
          </a:r>
          <a:endParaRPr lang="en-US" sz="1400" b="1" dirty="0">
            <a:solidFill>
              <a:srgbClr val="FFFFFF"/>
            </a:solidFill>
            <a:latin typeface="+mn-lt"/>
            <a:cs typeface="Arial" panose="020B0604020202020204" pitchFamily="34" charset="0"/>
          </a:endParaRPr>
        </a:p>
      </dgm:t>
    </dgm:pt>
    <dgm:pt modelId="{42AA2265-C1D1-724A-A849-937ED8DFEF17}" type="parTrans" cxnId="{3FCB6CF3-7E93-6D4E-A75F-FCA30244A940}">
      <dgm:prSet/>
      <dgm:spPr/>
      <dgm:t>
        <a:bodyPr/>
        <a:lstStyle/>
        <a:p>
          <a:endParaRPr lang="en-US" sz="1250">
            <a:solidFill>
              <a:srgbClr val="FFFFFF"/>
            </a:solidFill>
            <a:latin typeface="Arial" panose="020B0604020202020204" pitchFamily="34" charset="0"/>
            <a:cs typeface="Arial" panose="020B0604020202020204" pitchFamily="34" charset="0"/>
          </a:endParaRPr>
        </a:p>
      </dgm:t>
    </dgm:pt>
    <dgm:pt modelId="{B3BC0662-C664-EB4F-B1E2-2DB43213BC7B}" type="sibTrans" cxnId="{3FCB6CF3-7E93-6D4E-A75F-FCA30244A940}">
      <dgm:prSet/>
      <dgm:spPr/>
      <dgm:t>
        <a:bodyPr/>
        <a:lstStyle/>
        <a:p>
          <a:endParaRPr lang="en-US" sz="1250">
            <a:solidFill>
              <a:srgbClr val="FFFFFF"/>
            </a:solidFill>
            <a:latin typeface="Arial" panose="020B0604020202020204" pitchFamily="34" charset="0"/>
            <a:cs typeface="Arial" panose="020B0604020202020204" pitchFamily="34" charset="0"/>
          </a:endParaRPr>
        </a:p>
      </dgm:t>
    </dgm:pt>
    <dgm:pt modelId="{F2C1AC83-9A05-421F-8DB7-E6B6339F94E3}">
      <dgm:prSet phldrT="[Text]" custT="1"/>
      <dgm:spPr>
        <a:solidFill>
          <a:schemeClr val="accent6"/>
        </a:solidFill>
      </dgm:spPr>
      <dgm:t>
        <a:bodyPr/>
        <a:lstStyle/>
        <a:p>
          <a:r>
            <a:rPr lang="en-US" sz="1600" b="1" dirty="0">
              <a:solidFill>
                <a:srgbClr val="FFFFFF"/>
              </a:solidFill>
              <a:latin typeface="+mn-lt"/>
              <a:cs typeface="Arial" panose="020B0604020202020204" pitchFamily="34" charset="0"/>
            </a:rPr>
            <a:t>Syndication is used by most equipment finance companies to broaden the window of eligible transactions that it can fund on behalf of its customers. </a:t>
          </a:r>
        </a:p>
      </dgm:t>
    </dgm:pt>
    <dgm:pt modelId="{C6771C65-33E6-4963-B9A8-5B380B113B9D}" type="parTrans" cxnId="{04C562B7-8D5A-4448-9661-7AF2EB93ADE1}">
      <dgm:prSet/>
      <dgm:spPr/>
      <dgm:t>
        <a:bodyPr/>
        <a:lstStyle/>
        <a:p>
          <a:endParaRPr lang="en-US" sz="1250">
            <a:solidFill>
              <a:srgbClr val="FFFFFF"/>
            </a:solidFill>
            <a:latin typeface="Arial" panose="020B0604020202020204" pitchFamily="34" charset="0"/>
            <a:cs typeface="Arial" panose="020B0604020202020204" pitchFamily="34" charset="0"/>
          </a:endParaRPr>
        </a:p>
      </dgm:t>
    </dgm:pt>
    <dgm:pt modelId="{7DE0C251-210D-4C6F-AE3A-A67F1C2CC8AE}" type="sibTrans" cxnId="{04C562B7-8D5A-4448-9661-7AF2EB93ADE1}">
      <dgm:prSet/>
      <dgm:spPr/>
      <dgm:t>
        <a:bodyPr/>
        <a:lstStyle/>
        <a:p>
          <a:endParaRPr lang="en-US" sz="1250">
            <a:solidFill>
              <a:srgbClr val="FFFFFF"/>
            </a:solidFill>
            <a:latin typeface="Arial" panose="020B0604020202020204" pitchFamily="34" charset="0"/>
            <a:cs typeface="Arial" panose="020B0604020202020204" pitchFamily="34" charset="0"/>
          </a:endParaRPr>
        </a:p>
      </dgm:t>
    </dgm:pt>
    <dgm:pt modelId="{C330E44D-8DD7-4FD1-87A5-E580D44FA2CF}">
      <dgm:prSet phldrT="[Text]" custT="1"/>
      <dgm:spPr>
        <a:solidFill>
          <a:schemeClr val="accent4">
            <a:lumMod val="90000"/>
            <a:lumOff val="10000"/>
          </a:schemeClr>
        </a:solidFill>
      </dgm:spPr>
      <dgm:t>
        <a:bodyPr/>
        <a:lstStyle/>
        <a:p>
          <a:r>
            <a:rPr lang="en-US" sz="1400" b="1" dirty="0">
              <a:solidFill>
                <a:srgbClr val="FFFFFF"/>
              </a:solidFill>
              <a:latin typeface="+mn-lt"/>
              <a:cs typeface="Arial" panose="020B0604020202020204" pitchFamily="34" charset="0"/>
            </a:rPr>
            <a:t>Larger equipment finance companies have a buy and sell desk. Large equipment leases or loans may require a syndication strategy to meet the customer’s needs and bank’s credit requirements. </a:t>
          </a:r>
        </a:p>
      </dgm:t>
    </dgm:pt>
    <dgm:pt modelId="{9F389028-0D6A-4434-BA2A-8432A2F09E65}" type="parTrans" cxnId="{37F304EF-6AB1-4343-A4B6-D351CC21CFD7}">
      <dgm:prSet/>
      <dgm:spPr/>
      <dgm:t>
        <a:bodyPr/>
        <a:lstStyle/>
        <a:p>
          <a:endParaRPr lang="en-US" sz="1250">
            <a:solidFill>
              <a:srgbClr val="FFFFFF"/>
            </a:solidFill>
            <a:latin typeface="Arial" panose="020B0604020202020204" pitchFamily="34" charset="0"/>
            <a:cs typeface="Arial" panose="020B0604020202020204" pitchFamily="34" charset="0"/>
          </a:endParaRPr>
        </a:p>
      </dgm:t>
    </dgm:pt>
    <dgm:pt modelId="{BBBE1B59-E97E-41B7-87C8-54179AAD86EA}" type="sibTrans" cxnId="{37F304EF-6AB1-4343-A4B6-D351CC21CFD7}">
      <dgm:prSet/>
      <dgm:spPr/>
      <dgm:t>
        <a:bodyPr/>
        <a:lstStyle/>
        <a:p>
          <a:endParaRPr lang="en-US" sz="1250">
            <a:solidFill>
              <a:srgbClr val="FFFFFF"/>
            </a:solidFill>
            <a:latin typeface="Arial" panose="020B0604020202020204" pitchFamily="34" charset="0"/>
            <a:cs typeface="Arial" panose="020B0604020202020204" pitchFamily="34" charset="0"/>
          </a:endParaRPr>
        </a:p>
      </dgm:t>
    </dgm:pt>
    <dgm:pt modelId="{75E7DFCB-BC9A-B54A-B5F9-0053D90A4B9A}" type="pres">
      <dgm:prSet presAssocID="{42FAC202-95F1-5B43-AC41-40CFAE61B4B5}" presName="Name0" presStyleCnt="0">
        <dgm:presLayoutVars>
          <dgm:chMax val="7"/>
          <dgm:chPref val="7"/>
          <dgm:dir/>
        </dgm:presLayoutVars>
      </dgm:prSet>
      <dgm:spPr/>
    </dgm:pt>
    <dgm:pt modelId="{F1BAE90D-B5CB-C14E-B9BD-F1595C997352}" type="pres">
      <dgm:prSet presAssocID="{42FAC202-95F1-5B43-AC41-40CFAE61B4B5}" presName="Name1" presStyleCnt="0"/>
      <dgm:spPr/>
    </dgm:pt>
    <dgm:pt modelId="{9A3FF2C5-AB7E-BA44-8275-936169762F5E}" type="pres">
      <dgm:prSet presAssocID="{42FAC202-95F1-5B43-AC41-40CFAE61B4B5}" presName="cycle" presStyleCnt="0"/>
      <dgm:spPr/>
    </dgm:pt>
    <dgm:pt modelId="{6980615B-766A-2549-BBE5-017130AA60B7}" type="pres">
      <dgm:prSet presAssocID="{42FAC202-95F1-5B43-AC41-40CFAE61B4B5}" presName="srcNode" presStyleLbl="node1" presStyleIdx="0" presStyleCnt="5"/>
      <dgm:spPr/>
    </dgm:pt>
    <dgm:pt modelId="{6E3E7DA2-9C48-4F45-9933-AFA4DCD82093}" type="pres">
      <dgm:prSet presAssocID="{42FAC202-95F1-5B43-AC41-40CFAE61B4B5}" presName="conn" presStyleLbl="parChTrans1D2" presStyleIdx="0" presStyleCnt="1"/>
      <dgm:spPr/>
    </dgm:pt>
    <dgm:pt modelId="{9DEF931A-7317-5341-9703-E90007A1B5EF}" type="pres">
      <dgm:prSet presAssocID="{42FAC202-95F1-5B43-AC41-40CFAE61B4B5}" presName="extraNode" presStyleLbl="node1" presStyleIdx="0" presStyleCnt="5"/>
      <dgm:spPr/>
    </dgm:pt>
    <dgm:pt modelId="{6CD52A4B-29E3-1C4E-B32A-C2E26B09D6BE}" type="pres">
      <dgm:prSet presAssocID="{42FAC202-95F1-5B43-AC41-40CFAE61B4B5}" presName="dstNode" presStyleLbl="node1" presStyleIdx="0" presStyleCnt="5"/>
      <dgm:spPr/>
    </dgm:pt>
    <dgm:pt modelId="{052A7941-92BC-C34F-A431-877918797A91}" type="pres">
      <dgm:prSet presAssocID="{60F054BD-215F-4B42-AB57-B322AB53BD94}" presName="text_1" presStyleLbl="node1" presStyleIdx="0" presStyleCnt="5" custLinFactNeighborX="-207" custLinFactNeighborY="2299">
        <dgm:presLayoutVars>
          <dgm:bulletEnabled val="1"/>
        </dgm:presLayoutVars>
      </dgm:prSet>
      <dgm:spPr/>
    </dgm:pt>
    <dgm:pt modelId="{53E6EEA9-93B3-114C-8FA8-CDC8072150CD}" type="pres">
      <dgm:prSet presAssocID="{60F054BD-215F-4B42-AB57-B322AB53BD94}" presName="accent_1" presStyleCnt="0"/>
      <dgm:spPr/>
    </dgm:pt>
    <dgm:pt modelId="{08417D64-41D2-E64C-B727-F8D37564BD72}" type="pres">
      <dgm:prSet presAssocID="{60F054BD-215F-4B42-AB57-B322AB53BD94}" presName="accentRepeatNode" presStyleLbl="solidFgAcc1" presStyleIdx="0" presStyleCnt="5"/>
      <dgm:spPr>
        <a:solidFill>
          <a:schemeClr val="accent2"/>
        </a:solidFill>
        <a:ln>
          <a:solidFill>
            <a:schemeClr val="bg2"/>
          </a:solidFill>
        </a:ln>
      </dgm:spPr>
    </dgm:pt>
    <dgm:pt modelId="{278DB213-ACB5-6C46-B05E-44835327188F}" type="pres">
      <dgm:prSet presAssocID="{3CB15D0B-537C-4F4D-9E1B-6C3354BEA379}" presName="text_2" presStyleLbl="node1" presStyleIdx="1" presStyleCnt="5">
        <dgm:presLayoutVars>
          <dgm:bulletEnabled val="1"/>
        </dgm:presLayoutVars>
      </dgm:prSet>
      <dgm:spPr/>
    </dgm:pt>
    <dgm:pt modelId="{F7A69982-ED1C-284F-B4F4-826A6476CF48}" type="pres">
      <dgm:prSet presAssocID="{3CB15D0B-537C-4F4D-9E1B-6C3354BEA379}" presName="accent_2" presStyleCnt="0"/>
      <dgm:spPr/>
    </dgm:pt>
    <dgm:pt modelId="{A6BCADC9-A226-8445-9A9C-4005D2CB2540}" type="pres">
      <dgm:prSet presAssocID="{3CB15D0B-537C-4F4D-9E1B-6C3354BEA379}" presName="accentRepeatNode" presStyleLbl="solidFgAcc1" presStyleIdx="1" presStyleCnt="5"/>
      <dgm:spPr>
        <a:solidFill>
          <a:schemeClr val="tx2">
            <a:lumMod val="50000"/>
          </a:schemeClr>
        </a:solidFill>
        <a:ln>
          <a:solidFill>
            <a:schemeClr val="bg2"/>
          </a:solidFill>
        </a:ln>
      </dgm:spPr>
    </dgm:pt>
    <dgm:pt modelId="{CF01F227-B107-014A-A5C8-8D72842AC84B}" type="pres">
      <dgm:prSet presAssocID="{C3997687-101D-4149-81F6-67A8F52028DA}" presName="text_3" presStyleLbl="node1" presStyleIdx="2" presStyleCnt="5">
        <dgm:presLayoutVars>
          <dgm:bulletEnabled val="1"/>
        </dgm:presLayoutVars>
      </dgm:prSet>
      <dgm:spPr/>
    </dgm:pt>
    <dgm:pt modelId="{55370E32-499C-8245-9F69-1C84E5ECD105}" type="pres">
      <dgm:prSet presAssocID="{C3997687-101D-4149-81F6-67A8F52028DA}" presName="accent_3" presStyleCnt="0"/>
      <dgm:spPr/>
    </dgm:pt>
    <dgm:pt modelId="{1E9C4561-B57B-EF4F-92EA-B9500496D134}" type="pres">
      <dgm:prSet presAssocID="{C3997687-101D-4149-81F6-67A8F52028DA}" presName="accentRepeatNode" presStyleLbl="solidFgAcc1" presStyleIdx="2" presStyleCnt="5"/>
      <dgm:spPr>
        <a:solidFill>
          <a:schemeClr val="accent5"/>
        </a:solidFill>
        <a:ln>
          <a:solidFill>
            <a:schemeClr val="bg2"/>
          </a:solidFill>
        </a:ln>
      </dgm:spPr>
    </dgm:pt>
    <dgm:pt modelId="{DB35DA54-BECA-4CAE-B6CD-5E3823CF8831}" type="pres">
      <dgm:prSet presAssocID="{F2C1AC83-9A05-421F-8DB7-E6B6339F94E3}" presName="text_4" presStyleLbl="node1" presStyleIdx="3" presStyleCnt="5">
        <dgm:presLayoutVars>
          <dgm:bulletEnabled val="1"/>
        </dgm:presLayoutVars>
      </dgm:prSet>
      <dgm:spPr/>
    </dgm:pt>
    <dgm:pt modelId="{7F04FCF1-FE6B-4179-B848-DC54A9253FEA}" type="pres">
      <dgm:prSet presAssocID="{F2C1AC83-9A05-421F-8DB7-E6B6339F94E3}" presName="accent_4" presStyleCnt="0"/>
      <dgm:spPr/>
    </dgm:pt>
    <dgm:pt modelId="{FC43B97F-810B-4D60-A2B5-8A3B6E347F83}" type="pres">
      <dgm:prSet presAssocID="{F2C1AC83-9A05-421F-8DB7-E6B6339F94E3}" presName="accentRepeatNode" presStyleLbl="solidFgAcc1" presStyleIdx="3" presStyleCnt="5"/>
      <dgm:spPr>
        <a:solidFill>
          <a:schemeClr val="accent6"/>
        </a:solidFill>
        <a:ln>
          <a:solidFill>
            <a:schemeClr val="bg1"/>
          </a:solidFill>
        </a:ln>
      </dgm:spPr>
    </dgm:pt>
    <dgm:pt modelId="{D40402AF-966F-4784-A5CD-4A6CDB0AD88E}" type="pres">
      <dgm:prSet presAssocID="{C330E44D-8DD7-4FD1-87A5-E580D44FA2CF}" presName="text_5" presStyleLbl="node1" presStyleIdx="4" presStyleCnt="5">
        <dgm:presLayoutVars>
          <dgm:bulletEnabled val="1"/>
        </dgm:presLayoutVars>
      </dgm:prSet>
      <dgm:spPr/>
    </dgm:pt>
    <dgm:pt modelId="{6330A4D5-57D9-4CA2-8EC7-FC73F6D19E81}" type="pres">
      <dgm:prSet presAssocID="{C330E44D-8DD7-4FD1-87A5-E580D44FA2CF}" presName="accent_5" presStyleCnt="0"/>
      <dgm:spPr/>
    </dgm:pt>
    <dgm:pt modelId="{AD88557C-8D19-4755-891C-A5D3B3E140CD}" type="pres">
      <dgm:prSet presAssocID="{C330E44D-8DD7-4FD1-87A5-E580D44FA2CF}" presName="accentRepeatNode" presStyleLbl="solidFgAcc1" presStyleIdx="4" presStyleCnt="5"/>
      <dgm:spPr>
        <a:solidFill>
          <a:schemeClr val="accent4">
            <a:lumMod val="90000"/>
            <a:lumOff val="10000"/>
          </a:schemeClr>
        </a:solidFill>
        <a:ln>
          <a:solidFill>
            <a:schemeClr val="bg1"/>
          </a:solidFill>
        </a:ln>
      </dgm:spPr>
    </dgm:pt>
  </dgm:ptLst>
  <dgm:cxnLst>
    <dgm:cxn modelId="{D4F00F03-B241-4799-9845-449BE9F6DDBE}" type="presOf" srcId="{C330E44D-8DD7-4FD1-87A5-E580D44FA2CF}" destId="{D40402AF-966F-4784-A5CD-4A6CDB0AD88E}" srcOrd="0" destOrd="0" presId="urn:microsoft.com/office/officeart/2008/layout/VerticalCurvedList"/>
    <dgm:cxn modelId="{11B97004-6F55-9046-9A78-65A4EDE9BEDF}" type="presOf" srcId="{196CA0BF-0D68-EA47-BC4B-4E97CB6A9C95}" destId="{6E3E7DA2-9C48-4F45-9933-AFA4DCD82093}" srcOrd="0" destOrd="0" presId="urn:microsoft.com/office/officeart/2008/layout/VerticalCurvedList"/>
    <dgm:cxn modelId="{075AE33F-8834-DE46-A885-26D2796B96CC}" type="presOf" srcId="{60F054BD-215F-4B42-AB57-B322AB53BD94}" destId="{052A7941-92BC-C34F-A431-877918797A91}" srcOrd="0" destOrd="0" presId="urn:microsoft.com/office/officeart/2008/layout/VerticalCurvedList"/>
    <dgm:cxn modelId="{202D385E-E413-284E-A382-A8AFFF06AEFD}" srcId="{42FAC202-95F1-5B43-AC41-40CFAE61B4B5}" destId="{3CB15D0B-537C-4F4D-9E1B-6C3354BEA379}" srcOrd="1" destOrd="0" parTransId="{62AE480F-3E5E-7F41-BCEC-FD8988487276}" sibTransId="{8D7E5D7B-C59E-1147-ABAB-A4D5307C0516}"/>
    <dgm:cxn modelId="{6F83EB6C-366F-464F-801C-7BD1B3FA16B4}" type="presOf" srcId="{3CB15D0B-537C-4F4D-9E1B-6C3354BEA379}" destId="{278DB213-ACB5-6C46-B05E-44835327188F}" srcOrd="0" destOrd="0" presId="urn:microsoft.com/office/officeart/2008/layout/VerticalCurvedList"/>
    <dgm:cxn modelId="{8C926374-70C8-2848-A244-96D2023F6E7C}" type="presOf" srcId="{C3997687-101D-4149-81F6-67A8F52028DA}" destId="{CF01F227-B107-014A-A5C8-8D72842AC84B}" srcOrd="0" destOrd="0" presId="urn:microsoft.com/office/officeart/2008/layout/VerticalCurvedList"/>
    <dgm:cxn modelId="{20FC42A5-A4D3-4D4F-98FC-2C6427A7C2CD}" type="presOf" srcId="{F2C1AC83-9A05-421F-8DB7-E6B6339F94E3}" destId="{DB35DA54-BECA-4CAE-B6CD-5E3823CF8831}" srcOrd="0" destOrd="0" presId="urn:microsoft.com/office/officeart/2008/layout/VerticalCurvedList"/>
    <dgm:cxn modelId="{04C562B7-8D5A-4448-9661-7AF2EB93ADE1}" srcId="{42FAC202-95F1-5B43-AC41-40CFAE61B4B5}" destId="{F2C1AC83-9A05-421F-8DB7-E6B6339F94E3}" srcOrd="3" destOrd="0" parTransId="{C6771C65-33E6-4963-B9A8-5B380B113B9D}" sibTransId="{7DE0C251-210D-4C6F-AE3A-A67F1C2CC8AE}"/>
    <dgm:cxn modelId="{D98FFBDB-3FE5-D643-8865-5D0DA5B2F2D1}" srcId="{42FAC202-95F1-5B43-AC41-40CFAE61B4B5}" destId="{60F054BD-215F-4B42-AB57-B322AB53BD94}" srcOrd="0" destOrd="0" parTransId="{152F2A3A-6494-6F41-A5C8-4DC6B1498716}" sibTransId="{196CA0BF-0D68-EA47-BC4B-4E97CB6A9C95}"/>
    <dgm:cxn modelId="{37F304EF-6AB1-4343-A4B6-D351CC21CFD7}" srcId="{42FAC202-95F1-5B43-AC41-40CFAE61B4B5}" destId="{C330E44D-8DD7-4FD1-87A5-E580D44FA2CF}" srcOrd="4" destOrd="0" parTransId="{9F389028-0D6A-4434-BA2A-8432A2F09E65}" sibTransId="{BBBE1B59-E97E-41B7-87C8-54179AAD86EA}"/>
    <dgm:cxn modelId="{3FCB6CF3-7E93-6D4E-A75F-FCA30244A940}" srcId="{42FAC202-95F1-5B43-AC41-40CFAE61B4B5}" destId="{C3997687-101D-4149-81F6-67A8F52028DA}" srcOrd="2" destOrd="0" parTransId="{42AA2265-C1D1-724A-A849-937ED8DFEF17}" sibTransId="{B3BC0662-C664-EB4F-B1E2-2DB43213BC7B}"/>
    <dgm:cxn modelId="{661904FA-6380-6744-A9C5-DB0B7C2DB633}" type="presOf" srcId="{42FAC202-95F1-5B43-AC41-40CFAE61B4B5}" destId="{75E7DFCB-BC9A-B54A-B5F9-0053D90A4B9A}" srcOrd="0" destOrd="0" presId="urn:microsoft.com/office/officeart/2008/layout/VerticalCurvedList"/>
    <dgm:cxn modelId="{98AA058D-4FEA-DC48-90A3-E08D1BC3BD7D}" type="presParOf" srcId="{75E7DFCB-BC9A-B54A-B5F9-0053D90A4B9A}" destId="{F1BAE90D-B5CB-C14E-B9BD-F1595C997352}" srcOrd="0" destOrd="0" presId="urn:microsoft.com/office/officeart/2008/layout/VerticalCurvedList"/>
    <dgm:cxn modelId="{79C31E63-33CA-7046-AE3F-83BF243F7C77}" type="presParOf" srcId="{F1BAE90D-B5CB-C14E-B9BD-F1595C997352}" destId="{9A3FF2C5-AB7E-BA44-8275-936169762F5E}" srcOrd="0" destOrd="0" presId="urn:microsoft.com/office/officeart/2008/layout/VerticalCurvedList"/>
    <dgm:cxn modelId="{631E3800-9FA0-4949-8EEE-8CBB42AEDFA6}" type="presParOf" srcId="{9A3FF2C5-AB7E-BA44-8275-936169762F5E}" destId="{6980615B-766A-2549-BBE5-017130AA60B7}" srcOrd="0" destOrd="0" presId="urn:microsoft.com/office/officeart/2008/layout/VerticalCurvedList"/>
    <dgm:cxn modelId="{5DBAC3FA-8384-E64F-82E8-A6D4BFA98697}" type="presParOf" srcId="{9A3FF2C5-AB7E-BA44-8275-936169762F5E}" destId="{6E3E7DA2-9C48-4F45-9933-AFA4DCD82093}" srcOrd="1" destOrd="0" presId="urn:microsoft.com/office/officeart/2008/layout/VerticalCurvedList"/>
    <dgm:cxn modelId="{A6F6DBC0-CAF6-9742-B080-0EFE7F98F085}" type="presParOf" srcId="{9A3FF2C5-AB7E-BA44-8275-936169762F5E}" destId="{9DEF931A-7317-5341-9703-E90007A1B5EF}" srcOrd="2" destOrd="0" presId="urn:microsoft.com/office/officeart/2008/layout/VerticalCurvedList"/>
    <dgm:cxn modelId="{77D69AB7-06B1-3D4D-8203-94AE1F084919}" type="presParOf" srcId="{9A3FF2C5-AB7E-BA44-8275-936169762F5E}" destId="{6CD52A4B-29E3-1C4E-B32A-C2E26B09D6BE}" srcOrd="3" destOrd="0" presId="urn:microsoft.com/office/officeart/2008/layout/VerticalCurvedList"/>
    <dgm:cxn modelId="{C4F1C7B5-7EEA-3648-AD1F-4B6CEC16CFB7}" type="presParOf" srcId="{F1BAE90D-B5CB-C14E-B9BD-F1595C997352}" destId="{052A7941-92BC-C34F-A431-877918797A91}" srcOrd="1" destOrd="0" presId="urn:microsoft.com/office/officeart/2008/layout/VerticalCurvedList"/>
    <dgm:cxn modelId="{EA29F660-09C2-BE46-A4BA-7C0753E1A6C1}" type="presParOf" srcId="{F1BAE90D-B5CB-C14E-B9BD-F1595C997352}" destId="{53E6EEA9-93B3-114C-8FA8-CDC8072150CD}" srcOrd="2" destOrd="0" presId="urn:microsoft.com/office/officeart/2008/layout/VerticalCurvedList"/>
    <dgm:cxn modelId="{7216ABA2-00D3-0D45-B8D9-380BD98C54DE}" type="presParOf" srcId="{53E6EEA9-93B3-114C-8FA8-CDC8072150CD}" destId="{08417D64-41D2-E64C-B727-F8D37564BD72}" srcOrd="0" destOrd="0" presId="urn:microsoft.com/office/officeart/2008/layout/VerticalCurvedList"/>
    <dgm:cxn modelId="{EE384E7C-871C-5B4F-90AD-E7C54FBBBCE1}" type="presParOf" srcId="{F1BAE90D-B5CB-C14E-B9BD-F1595C997352}" destId="{278DB213-ACB5-6C46-B05E-44835327188F}" srcOrd="3" destOrd="0" presId="urn:microsoft.com/office/officeart/2008/layout/VerticalCurvedList"/>
    <dgm:cxn modelId="{1474302B-6A62-F54B-BEBD-8CA75D7CB9DF}" type="presParOf" srcId="{F1BAE90D-B5CB-C14E-B9BD-F1595C997352}" destId="{F7A69982-ED1C-284F-B4F4-826A6476CF48}" srcOrd="4" destOrd="0" presId="urn:microsoft.com/office/officeart/2008/layout/VerticalCurvedList"/>
    <dgm:cxn modelId="{196F6E7B-E57B-4A47-BC81-FF176037AA75}" type="presParOf" srcId="{F7A69982-ED1C-284F-B4F4-826A6476CF48}" destId="{A6BCADC9-A226-8445-9A9C-4005D2CB2540}" srcOrd="0" destOrd="0" presId="urn:microsoft.com/office/officeart/2008/layout/VerticalCurvedList"/>
    <dgm:cxn modelId="{61BAD1BE-6D16-CF44-9D87-C269C681C30C}" type="presParOf" srcId="{F1BAE90D-B5CB-C14E-B9BD-F1595C997352}" destId="{CF01F227-B107-014A-A5C8-8D72842AC84B}" srcOrd="5" destOrd="0" presId="urn:microsoft.com/office/officeart/2008/layout/VerticalCurvedList"/>
    <dgm:cxn modelId="{3603A199-C827-A249-91E0-60973555F3AE}" type="presParOf" srcId="{F1BAE90D-B5CB-C14E-B9BD-F1595C997352}" destId="{55370E32-499C-8245-9F69-1C84E5ECD105}" srcOrd="6" destOrd="0" presId="urn:microsoft.com/office/officeart/2008/layout/VerticalCurvedList"/>
    <dgm:cxn modelId="{FBE8A246-6890-B14A-9939-18DCFAAE9524}" type="presParOf" srcId="{55370E32-499C-8245-9F69-1C84E5ECD105}" destId="{1E9C4561-B57B-EF4F-92EA-B9500496D134}" srcOrd="0" destOrd="0" presId="urn:microsoft.com/office/officeart/2008/layout/VerticalCurvedList"/>
    <dgm:cxn modelId="{E9FFC17E-1AE2-47F9-95A3-77B04B346653}" type="presParOf" srcId="{F1BAE90D-B5CB-C14E-B9BD-F1595C997352}" destId="{DB35DA54-BECA-4CAE-B6CD-5E3823CF8831}" srcOrd="7" destOrd="0" presId="urn:microsoft.com/office/officeart/2008/layout/VerticalCurvedList"/>
    <dgm:cxn modelId="{62470F7C-2214-4686-90CB-F63CBF6B99F1}" type="presParOf" srcId="{F1BAE90D-B5CB-C14E-B9BD-F1595C997352}" destId="{7F04FCF1-FE6B-4179-B848-DC54A9253FEA}" srcOrd="8" destOrd="0" presId="urn:microsoft.com/office/officeart/2008/layout/VerticalCurvedList"/>
    <dgm:cxn modelId="{732D9836-1A73-4764-A1F9-CE75B693BB40}" type="presParOf" srcId="{7F04FCF1-FE6B-4179-B848-DC54A9253FEA}" destId="{FC43B97F-810B-4D60-A2B5-8A3B6E347F83}" srcOrd="0" destOrd="0" presId="urn:microsoft.com/office/officeart/2008/layout/VerticalCurvedList"/>
    <dgm:cxn modelId="{18EED591-981C-4D2A-904C-8C560BD81206}" type="presParOf" srcId="{F1BAE90D-B5CB-C14E-B9BD-F1595C997352}" destId="{D40402AF-966F-4784-A5CD-4A6CDB0AD88E}" srcOrd="9" destOrd="0" presId="urn:microsoft.com/office/officeart/2008/layout/VerticalCurvedList"/>
    <dgm:cxn modelId="{4FD02931-693E-4881-A295-4C89D5EC94DB}" type="presParOf" srcId="{F1BAE90D-B5CB-C14E-B9BD-F1595C997352}" destId="{6330A4D5-57D9-4CA2-8EC7-FC73F6D19E81}" srcOrd="10" destOrd="0" presId="urn:microsoft.com/office/officeart/2008/layout/VerticalCurvedList"/>
    <dgm:cxn modelId="{0881FAD6-4839-4524-BAB2-2A555030D5CD}" type="presParOf" srcId="{6330A4D5-57D9-4CA2-8EC7-FC73F6D19E81}" destId="{AD88557C-8D19-4755-891C-A5D3B3E140C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E7DA2-9C48-4F45-9933-AFA4DCD82093}">
      <dsp:nvSpPr>
        <dsp:cNvPr id="0" name=""/>
        <dsp:cNvSpPr/>
      </dsp:nvSpPr>
      <dsp:spPr>
        <a:xfrm>
          <a:off x="-4594335" y="-704407"/>
          <a:ext cx="5472816" cy="5472816"/>
        </a:xfrm>
        <a:prstGeom prst="blockArc">
          <a:avLst>
            <a:gd name="adj1" fmla="val 18900000"/>
            <a:gd name="adj2" fmla="val 2700000"/>
            <a:gd name="adj3" fmla="val 395"/>
          </a:avLst>
        </a:prstGeom>
        <a:solidFill>
          <a:schemeClr val="bg1"/>
        </a:solid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52A7941-92BC-C34F-A431-877918797A91}">
      <dsp:nvSpPr>
        <dsp:cNvPr id="0" name=""/>
        <dsp:cNvSpPr/>
      </dsp:nvSpPr>
      <dsp:spPr>
        <a:xfrm>
          <a:off x="368413" y="265601"/>
          <a:ext cx="7789874" cy="508162"/>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i="0" kern="1200" dirty="0">
              <a:solidFill>
                <a:schemeClr val="tx1"/>
              </a:solidFill>
              <a:effectLst/>
              <a:latin typeface="Arial" panose="020B0604020202020204" pitchFamily="34" charset="0"/>
              <a:cs typeface="Arial" panose="020B0604020202020204" pitchFamily="34" charset="0"/>
            </a:rPr>
            <a:t>It is generally a secondary market transaction after the initial funding has occurred.</a:t>
          </a:r>
          <a:endParaRPr lang="en-US" sz="1400" b="1" kern="1200" dirty="0">
            <a:solidFill>
              <a:schemeClr val="tx1"/>
            </a:solidFill>
            <a:latin typeface="Arial" panose="020B0604020202020204" pitchFamily="34" charset="0"/>
            <a:cs typeface="Arial" panose="020B0604020202020204" pitchFamily="34" charset="0"/>
          </a:endParaRPr>
        </a:p>
      </dsp:txBody>
      <dsp:txXfrm>
        <a:off x="368413" y="265601"/>
        <a:ext cx="7789874" cy="508162"/>
      </dsp:txXfrm>
    </dsp:sp>
    <dsp:sp modelId="{08417D64-41D2-E64C-B727-F8D37564BD72}">
      <dsp:nvSpPr>
        <dsp:cNvPr id="0" name=""/>
        <dsp:cNvSpPr/>
      </dsp:nvSpPr>
      <dsp:spPr>
        <a:xfrm>
          <a:off x="66936" y="190398"/>
          <a:ext cx="635203" cy="635203"/>
        </a:xfrm>
        <a:prstGeom prst="ellipse">
          <a:avLst/>
        </a:prstGeom>
        <a:solidFill>
          <a:schemeClr val="accent2"/>
        </a:solidFill>
        <a:ln w="12700" cap="flat" cmpd="sng" algn="ctr">
          <a:solidFill>
            <a:schemeClr val="bg2"/>
          </a:solidFill>
          <a:prstDash val="solid"/>
          <a:miter lim="800000"/>
        </a:ln>
        <a:effectLst/>
      </dsp:spPr>
      <dsp:style>
        <a:lnRef idx="2">
          <a:scrgbClr r="0" g="0" b="0"/>
        </a:lnRef>
        <a:fillRef idx="1">
          <a:scrgbClr r="0" g="0" b="0"/>
        </a:fillRef>
        <a:effectRef idx="0">
          <a:scrgbClr r="0" g="0" b="0"/>
        </a:effectRef>
        <a:fontRef idx="minor"/>
      </dsp:style>
    </dsp:sp>
    <dsp:sp modelId="{278DB213-ACB5-6C46-B05E-44835327188F}">
      <dsp:nvSpPr>
        <dsp:cNvPr id="0" name=""/>
        <dsp:cNvSpPr/>
      </dsp:nvSpPr>
      <dsp:spPr>
        <a:xfrm>
          <a:off x="748672" y="1015918"/>
          <a:ext cx="7425739" cy="508162"/>
        </a:xfrm>
        <a:prstGeom prst="rect">
          <a:avLst/>
        </a:prstGeom>
        <a:solidFill>
          <a:schemeClr val="tx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i="0" kern="1200" dirty="0">
              <a:solidFill>
                <a:schemeClr val="tx1"/>
              </a:solidFill>
              <a:effectLst/>
              <a:latin typeface="+mn-lt"/>
              <a:cs typeface="Arial" panose="020B0604020202020204" pitchFamily="34" charset="0"/>
            </a:rPr>
            <a:t>It mostly occurs when the requested loan amount is too large for a single lender, when the loan is outside the scope of a lender's risk exposure levels or when the lender wants to generate fee income by accelerating the profit in the transaction.</a:t>
          </a:r>
          <a:endParaRPr lang="en-US" sz="1300" b="1" kern="1200" dirty="0">
            <a:solidFill>
              <a:schemeClr val="tx1"/>
            </a:solidFill>
            <a:latin typeface="+mn-lt"/>
            <a:cs typeface="Arial" panose="020B0604020202020204" pitchFamily="34" charset="0"/>
          </a:endParaRPr>
        </a:p>
      </dsp:txBody>
      <dsp:txXfrm>
        <a:off x="748672" y="1015918"/>
        <a:ext cx="7425739" cy="508162"/>
      </dsp:txXfrm>
    </dsp:sp>
    <dsp:sp modelId="{A6BCADC9-A226-8445-9A9C-4005D2CB2540}">
      <dsp:nvSpPr>
        <dsp:cNvPr id="0" name=""/>
        <dsp:cNvSpPr/>
      </dsp:nvSpPr>
      <dsp:spPr>
        <a:xfrm>
          <a:off x="431071" y="952398"/>
          <a:ext cx="635203" cy="635203"/>
        </a:xfrm>
        <a:prstGeom prst="ellipse">
          <a:avLst/>
        </a:prstGeom>
        <a:solidFill>
          <a:schemeClr val="tx2">
            <a:lumMod val="50000"/>
          </a:schemeClr>
        </a:solidFill>
        <a:ln w="12700" cap="flat" cmpd="sng" algn="ctr">
          <a:solidFill>
            <a:schemeClr val="bg2"/>
          </a:solidFill>
          <a:prstDash val="solid"/>
          <a:miter lim="800000"/>
        </a:ln>
        <a:effectLst/>
      </dsp:spPr>
      <dsp:style>
        <a:lnRef idx="2">
          <a:scrgbClr r="0" g="0" b="0"/>
        </a:lnRef>
        <a:fillRef idx="1">
          <a:scrgbClr r="0" g="0" b="0"/>
        </a:fillRef>
        <a:effectRef idx="0">
          <a:scrgbClr r="0" g="0" b="0"/>
        </a:effectRef>
        <a:fontRef idx="minor"/>
      </dsp:style>
    </dsp:sp>
    <dsp:sp modelId="{CF01F227-B107-014A-A5C8-8D72842AC84B}">
      <dsp:nvSpPr>
        <dsp:cNvPr id="0" name=""/>
        <dsp:cNvSpPr/>
      </dsp:nvSpPr>
      <dsp:spPr>
        <a:xfrm>
          <a:off x="860432" y="1777918"/>
          <a:ext cx="7313979" cy="508162"/>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i="0" kern="1200" dirty="0">
              <a:solidFill>
                <a:srgbClr val="FFFFFF"/>
              </a:solidFill>
              <a:effectLst/>
              <a:latin typeface="+mn-lt"/>
              <a:cs typeface="Arial" panose="020B0604020202020204" pitchFamily="34" charset="0"/>
            </a:rPr>
            <a:t>Multiple lenders pool together and form a </a:t>
          </a:r>
          <a:r>
            <a:rPr lang="en-US" sz="1400" b="1" i="0" u="sng" kern="1200" dirty="0">
              <a:solidFill>
                <a:srgbClr val="FFFFFF"/>
              </a:solidFill>
              <a:effectLst/>
              <a:latin typeface="+mn-lt"/>
              <a:cs typeface="Arial" panose="020B0604020202020204" pitchFamily="34" charset="0"/>
              <a:hlinkClick xmlns:r="http://schemas.openxmlformats.org/officeDocument/2006/relationships" r:id="rId1">
                <a:extLst>
                  <a:ext uri="{A12FA001-AC4F-418D-AE19-62706E023703}">
                    <ahyp:hlinkClr xmlns:ahyp="http://schemas.microsoft.com/office/drawing/2018/hyperlinkcolor" val="tx"/>
                  </a:ext>
                </a:extLst>
              </a:hlinkClick>
            </a:rPr>
            <a:t>syndicate</a:t>
          </a:r>
          <a:r>
            <a:rPr lang="en-US" sz="1400" b="1" i="0" kern="1200" dirty="0">
              <a:solidFill>
                <a:srgbClr val="FFFFFF"/>
              </a:solidFill>
              <a:effectLst/>
              <a:latin typeface="+mn-lt"/>
              <a:cs typeface="Arial" panose="020B0604020202020204" pitchFamily="34" charset="0"/>
            </a:rPr>
            <a:t> to provide the borrower with the requested capital.</a:t>
          </a:r>
          <a:endParaRPr lang="en-US" sz="1400" b="1" kern="1200" dirty="0">
            <a:solidFill>
              <a:srgbClr val="FFFFFF"/>
            </a:solidFill>
            <a:latin typeface="+mn-lt"/>
            <a:cs typeface="Arial" panose="020B0604020202020204" pitchFamily="34" charset="0"/>
          </a:endParaRPr>
        </a:p>
      </dsp:txBody>
      <dsp:txXfrm>
        <a:off x="860432" y="1777918"/>
        <a:ext cx="7313979" cy="508162"/>
      </dsp:txXfrm>
    </dsp:sp>
    <dsp:sp modelId="{1E9C4561-B57B-EF4F-92EA-B9500496D134}">
      <dsp:nvSpPr>
        <dsp:cNvPr id="0" name=""/>
        <dsp:cNvSpPr/>
      </dsp:nvSpPr>
      <dsp:spPr>
        <a:xfrm>
          <a:off x="542831" y="1714398"/>
          <a:ext cx="635203" cy="635203"/>
        </a:xfrm>
        <a:prstGeom prst="ellipse">
          <a:avLst/>
        </a:prstGeom>
        <a:solidFill>
          <a:schemeClr val="accent5"/>
        </a:solidFill>
        <a:ln w="12700" cap="flat" cmpd="sng" algn="ctr">
          <a:solidFill>
            <a:schemeClr val="bg2"/>
          </a:solidFill>
          <a:prstDash val="solid"/>
          <a:miter lim="800000"/>
        </a:ln>
        <a:effectLst/>
      </dsp:spPr>
      <dsp:style>
        <a:lnRef idx="2">
          <a:scrgbClr r="0" g="0" b="0"/>
        </a:lnRef>
        <a:fillRef idx="1">
          <a:scrgbClr r="0" g="0" b="0"/>
        </a:fillRef>
        <a:effectRef idx="0">
          <a:scrgbClr r="0" g="0" b="0"/>
        </a:effectRef>
        <a:fontRef idx="minor"/>
      </dsp:style>
    </dsp:sp>
    <dsp:sp modelId="{DB35DA54-BECA-4CAE-B6CD-5E3823CF8831}">
      <dsp:nvSpPr>
        <dsp:cNvPr id="0" name=""/>
        <dsp:cNvSpPr/>
      </dsp:nvSpPr>
      <dsp:spPr>
        <a:xfrm>
          <a:off x="748672" y="2539918"/>
          <a:ext cx="7425739" cy="508162"/>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40640" rIns="40640" bIns="4064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rgbClr val="FFFFFF"/>
              </a:solidFill>
              <a:latin typeface="+mn-lt"/>
              <a:cs typeface="Arial" panose="020B0604020202020204" pitchFamily="34" charset="0"/>
            </a:rPr>
            <a:t>Syndication is used by most equipment finance companies to broaden the window of eligible transactions that it can fund on behalf of its customers. </a:t>
          </a:r>
        </a:p>
      </dsp:txBody>
      <dsp:txXfrm>
        <a:off x="748672" y="2539918"/>
        <a:ext cx="7425739" cy="508162"/>
      </dsp:txXfrm>
    </dsp:sp>
    <dsp:sp modelId="{FC43B97F-810B-4D60-A2B5-8A3B6E347F83}">
      <dsp:nvSpPr>
        <dsp:cNvPr id="0" name=""/>
        <dsp:cNvSpPr/>
      </dsp:nvSpPr>
      <dsp:spPr>
        <a:xfrm>
          <a:off x="431071" y="2476398"/>
          <a:ext cx="635203" cy="635203"/>
        </a:xfrm>
        <a:prstGeom prst="ellipse">
          <a:avLst/>
        </a:prstGeom>
        <a:solidFill>
          <a:schemeClr val="accent6"/>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D40402AF-966F-4784-A5CD-4A6CDB0AD88E}">
      <dsp:nvSpPr>
        <dsp:cNvPr id="0" name=""/>
        <dsp:cNvSpPr/>
      </dsp:nvSpPr>
      <dsp:spPr>
        <a:xfrm>
          <a:off x="384538" y="3301918"/>
          <a:ext cx="7789874" cy="508162"/>
        </a:xfrm>
        <a:prstGeom prst="rect">
          <a:avLst/>
        </a:prstGeom>
        <a:solidFill>
          <a:schemeClr val="accent4">
            <a:lumMod val="90000"/>
            <a:lumOff val="1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3354"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rgbClr val="FFFFFF"/>
              </a:solidFill>
              <a:latin typeface="+mn-lt"/>
              <a:cs typeface="Arial" panose="020B0604020202020204" pitchFamily="34" charset="0"/>
            </a:rPr>
            <a:t>Larger equipment finance companies have a buy and sell desk. Large equipment leases or loans may require a syndication strategy to meet the customer’s needs and bank’s credit requirements. </a:t>
          </a:r>
        </a:p>
      </dsp:txBody>
      <dsp:txXfrm>
        <a:off x="384538" y="3301918"/>
        <a:ext cx="7789874" cy="508162"/>
      </dsp:txXfrm>
    </dsp:sp>
    <dsp:sp modelId="{AD88557C-8D19-4755-891C-A5D3B3E140CD}">
      <dsp:nvSpPr>
        <dsp:cNvPr id="0" name=""/>
        <dsp:cNvSpPr/>
      </dsp:nvSpPr>
      <dsp:spPr>
        <a:xfrm>
          <a:off x="66936" y="3238398"/>
          <a:ext cx="635203" cy="635203"/>
        </a:xfrm>
        <a:prstGeom prst="ellipse">
          <a:avLst/>
        </a:prstGeom>
        <a:solidFill>
          <a:schemeClr val="accent4">
            <a:lumMod val="90000"/>
            <a:lumOff val="1000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701040" y="4415790"/>
            <a:ext cx="5608320" cy="4183380"/>
          </a:xfrm>
          <a:prstGeom prst="rect">
            <a:avLst/>
          </a:prstGeom>
          <a:noFill/>
          <a:ln>
            <a:noFill/>
          </a:ln>
        </p:spPr>
        <p:txBody>
          <a:bodyPr spcFirstLastPara="1" wrap="square" lIns="93162" tIns="93162" rIns="93162" bIns="93162" anchor="t" anchorCtr="0"/>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90926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solidFill>
                  <a:schemeClr val="accent1">
                    <a:lumMod val="50000"/>
                  </a:schemeClr>
                </a:solidFill>
              </a:rPr>
              <a:t>Equipment Finance companies have several funding options in their toolbox with the most popular being discounting, syndication and bank lines.</a:t>
            </a:r>
          </a:p>
          <a:p>
            <a:r>
              <a:rPr lang="en-US" sz="1100" dirty="0">
                <a:solidFill>
                  <a:schemeClr val="accent1">
                    <a:lumMod val="50000"/>
                  </a:schemeClr>
                </a:solidFill>
                <a:ea typeface="Calibri" panose="020F0502020204030204" pitchFamily="34" charset="0"/>
                <a:cs typeface="Arial" panose="020B0604020202020204" pitchFamily="34" charset="0"/>
              </a:rPr>
              <a:t>B</a:t>
            </a:r>
            <a:r>
              <a:rPr lang="en-US" sz="1100" dirty="0">
                <a:solidFill>
                  <a:schemeClr val="accent1">
                    <a:lumMod val="50000"/>
                  </a:schemeClr>
                </a:solidFill>
                <a:effectLst/>
                <a:ea typeface="Calibri" panose="020F0502020204030204" pitchFamily="34" charset="0"/>
                <a:cs typeface="Arial" panose="020B0604020202020204" pitchFamily="34" charset="0"/>
              </a:rPr>
              <a:t>ank lines, private and public equipment ABS are </a:t>
            </a:r>
            <a:r>
              <a:rPr lang="en-US" sz="1100" i="1" dirty="0">
                <a:solidFill>
                  <a:schemeClr val="accent1">
                    <a:lumMod val="50000"/>
                  </a:schemeClr>
                </a:solidFill>
                <a:effectLst/>
                <a:ea typeface="Calibri" panose="020F0502020204030204" pitchFamily="34" charset="0"/>
                <a:cs typeface="Arial" panose="020B0604020202020204" pitchFamily="34" charset="0"/>
              </a:rPr>
              <a:t>more available </a:t>
            </a:r>
            <a:r>
              <a:rPr lang="en-US" sz="1100" dirty="0">
                <a:solidFill>
                  <a:schemeClr val="accent1">
                    <a:lumMod val="50000"/>
                  </a:schemeClr>
                </a:solidFill>
                <a:effectLst/>
                <a:ea typeface="Calibri" panose="020F0502020204030204" pitchFamily="34" charset="0"/>
                <a:cs typeface="Arial" panose="020B0604020202020204" pitchFamily="34" charset="0"/>
              </a:rPr>
              <a:t>to equipment finance firms earlier in their lifecycles as the Capital Markets like the secured nature of equipment finance assets and the resultant performance</a:t>
            </a:r>
            <a:r>
              <a:rPr lang="en-US" sz="1050" dirty="0">
                <a:solidFill>
                  <a:schemeClr val="accent1">
                    <a:lumMod val="50000"/>
                  </a:schemeClr>
                </a:solidFill>
                <a:effectLst/>
                <a:ea typeface="Calibri" panose="020F0502020204030204" pitchFamily="34" charset="0"/>
                <a:cs typeface="Arial" panose="020B0604020202020204" pitchFamily="34" charset="0"/>
              </a:rPr>
              <a:t>. </a:t>
            </a:r>
            <a:endParaRPr lang="en-US" sz="1050" dirty="0">
              <a:solidFill>
                <a:schemeClr val="accent1">
                  <a:lumMod val="50000"/>
                </a:schemeClr>
              </a:solidFill>
            </a:endParaRPr>
          </a:p>
          <a:p>
            <a:endParaRPr lang="en-US" dirty="0"/>
          </a:p>
        </p:txBody>
      </p:sp>
    </p:spTree>
    <p:extLst>
      <p:ext uri="{BB962C8B-B14F-4D97-AF65-F5344CB8AC3E}">
        <p14:creationId xmlns:p14="http://schemas.microsoft.com/office/powerpoint/2010/main" val="1039180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solidFill>
                  <a:srgbClr val="002060"/>
                </a:solidFill>
                <a:ea typeface="Calibri" panose="020F0502020204030204" pitchFamily="34" charset="0"/>
              </a:rPr>
              <a:t>The equipment ABS market is a large, active funding source for equipment finance companies.</a:t>
            </a:r>
          </a:p>
          <a:p>
            <a:r>
              <a:rPr lang="en-US" sz="1100" dirty="0">
                <a:solidFill>
                  <a:srgbClr val="002060"/>
                </a:solidFill>
              </a:rPr>
              <a:t>Some of the most active issuers are large captive finance companies whose parent companies are recognizable names.</a:t>
            </a:r>
          </a:p>
          <a:p>
            <a:r>
              <a:rPr lang="en-US" sz="1100" dirty="0">
                <a:solidFill>
                  <a:srgbClr val="002060"/>
                </a:solidFill>
              </a:rPr>
              <a:t>Equipment types commonly securitized include computers and peripherals, tractors, trucks, construction equipment. </a:t>
            </a:r>
          </a:p>
        </p:txBody>
      </p:sp>
    </p:spTree>
    <p:extLst>
      <p:ext uri="{BB962C8B-B14F-4D97-AF65-F5344CB8AC3E}">
        <p14:creationId xmlns:p14="http://schemas.microsoft.com/office/powerpoint/2010/main" val="520884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solidFill>
                  <a:schemeClr val="accent5">
                    <a:lumMod val="50000"/>
                  </a:schemeClr>
                </a:solidFill>
                <a:latin typeface="Arial" panose="020B0604020202020204" pitchFamily="34" charset="0"/>
                <a:cs typeface="Arial" panose="020B0604020202020204" pitchFamily="34" charset="0"/>
              </a:rPr>
              <a:t>Equipment ABS is a proven, resilient performer through economic cycles including the pandemic.</a:t>
            </a:r>
          </a:p>
          <a:p>
            <a:pPr>
              <a:lnSpc>
                <a:spcPct val="100000"/>
              </a:lnSpc>
              <a:spcBef>
                <a:spcPts val="600"/>
              </a:spcBef>
            </a:pPr>
            <a:r>
              <a:rPr lang="en-US" sz="1100" dirty="0">
                <a:solidFill>
                  <a:schemeClr val="accent5">
                    <a:lumMod val="50000"/>
                  </a:schemeClr>
                </a:solidFill>
                <a:latin typeface="Arial" panose="020B0604020202020204" pitchFamily="34" charset="0"/>
                <a:cs typeface="Arial" panose="020B0604020202020204" pitchFamily="34" charset="0"/>
              </a:rPr>
              <a:t>Historically, equipment ABS deals have performed consistently over cycle due to strong underlying fundamentals as supported by strong credit quality metrics which investors view as a </a:t>
            </a:r>
            <a:r>
              <a:rPr lang="en-US" sz="1100" dirty="0">
                <a:solidFill>
                  <a:schemeClr val="accent5">
                    <a:lumMod val="50000"/>
                  </a:schemeClr>
                </a:solidFill>
                <a:effectLst/>
                <a:latin typeface="Arial" panose="020B0604020202020204" pitchFamily="34" charset="0"/>
                <a:ea typeface="Calibri" panose="020F0502020204030204" pitchFamily="34" charset="0"/>
                <a:cs typeface="Arial" panose="020B0604020202020204" pitchFamily="34" charset="0"/>
              </a:rPr>
              <a:t>strong risk-reward play.</a:t>
            </a:r>
            <a:endParaRPr lang="en-US" sz="1100" dirty="0">
              <a:solidFill>
                <a:schemeClr val="accent5">
                  <a:lumMod val="50000"/>
                </a:schemeClr>
              </a:solidFill>
              <a:latin typeface="Arial" panose="020B0604020202020204" pitchFamily="34" charset="0"/>
              <a:cs typeface="Arial" panose="020B0604020202020204" pitchFamily="34" charset="0"/>
            </a:endParaRPr>
          </a:p>
          <a:p>
            <a:pPr>
              <a:lnSpc>
                <a:spcPct val="100000"/>
              </a:lnSpc>
              <a:spcBef>
                <a:spcPts val="600"/>
              </a:spcBef>
            </a:pPr>
            <a:r>
              <a:rPr lang="en-US" sz="1100" dirty="0">
                <a:solidFill>
                  <a:schemeClr val="accent5">
                    <a:lumMod val="50000"/>
                  </a:schemeClr>
                </a:solidFill>
                <a:latin typeface="Arial" panose="020B0604020202020204" pitchFamily="34" charset="0"/>
                <a:cs typeface="Arial" panose="020B0604020202020204" pitchFamily="34" charset="0"/>
              </a:rPr>
              <a:t>Investors are attracted to equipment ABS because they have relatively short durations, low delinquency rates, low charge-offs and lack of prepayment risk as compared to other assets. </a:t>
            </a:r>
          </a:p>
          <a:p>
            <a:pPr>
              <a:lnSpc>
                <a:spcPct val="100000"/>
              </a:lnSpc>
              <a:spcBef>
                <a:spcPts val="600"/>
              </a:spcBef>
            </a:pPr>
            <a:r>
              <a:rPr lang="en-US" sz="1100" dirty="0">
                <a:solidFill>
                  <a:schemeClr val="accent5">
                    <a:lumMod val="50000"/>
                  </a:schemeClr>
                </a:solidFill>
                <a:effectLst/>
                <a:latin typeface="Arial" panose="020B0604020202020204" pitchFamily="34" charset="0"/>
                <a:ea typeface="Calibri" panose="020F0502020204030204" pitchFamily="34" charset="0"/>
                <a:cs typeface="Arial" panose="020B0604020202020204" pitchFamily="34" charset="0"/>
              </a:rPr>
              <a:t>Despite the economic challenges created by the pandemic, equipment ABS demonstrated a resiliency that ensured a reliable source of funding for equipment finance firms while attracting new investors to the asset class seeking a safe means to generate favorable returns.</a:t>
            </a:r>
          </a:p>
          <a:p>
            <a:endParaRPr lang="en-US" dirty="0"/>
          </a:p>
        </p:txBody>
      </p:sp>
    </p:spTree>
    <p:extLst>
      <p:ext uri="{BB962C8B-B14F-4D97-AF65-F5344CB8AC3E}">
        <p14:creationId xmlns:p14="http://schemas.microsoft.com/office/powerpoint/2010/main" val="30993746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18752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5322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g35ed75ccf_022:notes"/>
          <p:cNvSpPr>
            <a:spLocks noGrp="1" noRot="1" noChangeAspect="1"/>
          </p:cNvSpPr>
          <p:nvPr>
            <p:ph type="sldImg" idx="2"/>
          </p:nvPr>
        </p:nvSpPr>
        <p:spPr>
          <a:xfrm>
            <a:off x="406400" y="696913"/>
            <a:ext cx="6197600" cy="348615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96" name="Google Shape;296;g35ed75ccf_022:notes"/>
          <p:cNvSpPr txBox="1">
            <a:spLocks noGrp="1"/>
          </p:cNvSpPr>
          <p:nvPr>
            <p:ph type="body" idx="1"/>
          </p:nvPr>
        </p:nvSpPr>
        <p:spPr>
          <a:xfrm>
            <a:off x="701040" y="4415790"/>
            <a:ext cx="5608320" cy="4183380"/>
          </a:xfrm>
          <a:prstGeom prst="rect">
            <a:avLst/>
          </a:prstGeom>
        </p:spPr>
        <p:txBody>
          <a:bodyPr spcFirstLastPara="1" wrap="square" lIns="93162" tIns="93162" rIns="93162" bIns="93162" anchor="t" anchorCtr="0">
            <a:noAutofit/>
          </a:bodyPr>
          <a:lstStyle/>
          <a:p>
            <a:pPr marL="0" indent="0">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3/1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marL="0" lvl="0" indent="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3838823213"/>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3/1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marL="0" lvl="0" indent="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1029270177"/>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pPr/>
              <a:t>3/1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marL="0" lvl="0" indent="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974613079"/>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 1 column" type="tx">
  <p:cSld name="Title + 1 column">
    <p:spTree>
      <p:nvGrpSpPr>
        <p:cNvPr id="1" name="Shape 24"/>
        <p:cNvGrpSpPr/>
        <p:nvPr/>
      </p:nvGrpSpPr>
      <p:grpSpPr>
        <a:xfrm>
          <a:off x="0" y="0"/>
          <a:ext cx="0" cy="0"/>
          <a:chOff x="0" y="0"/>
          <a:chExt cx="0" cy="0"/>
        </a:xfrm>
      </p:grpSpPr>
      <p:sp>
        <p:nvSpPr>
          <p:cNvPr id="27" name="Google Shape;27;p5"/>
          <p:cNvSpPr txBox="1">
            <a:spLocks noGrp="1"/>
          </p:cNvSpPr>
          <p:nvPr>
            <p:ph type="title"/>
          </p:nvPr>
        </p:nvSpPr>
        <p:spPr>
          <a:xfrm>
            <a:off x="1010200" y="648725"/>
            <a:ext cx="7131300" cy="671400"/>
          </a:xfrm>
          <a:prstGeom prst="rect">
            <a:avLst/>
          </a:prstGeom>
        </p:spPr>
        <p:txBody>
          <a:bodyPr spcFirstLastPara="1" wrap="square" lIns="91425" tIns="91425" rIns="91425" bIns="91425" anchor="b" anchorCtr="0"/>
          <a:lstStyle>
            <a:lvl1pPr lvl="0">
              <a:spcBef>
                <a:spcPts val="0"/>
              </a:spcBef>
              <a:spcAft>
                <a:spcPts val="0"/>
              </a:spcAft>
              <a:buSzPts val="14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5"/>
          <p:cNvSpPr txBox="1">
            <a:spLocks noGrp="1"/>
          </p:cNvSpPr>
          <p:nvPr>
            <p:ph type="body" idx="1"/>
          </p:nvPr>
        </p:nvSpPr>
        <p:spPr>
          <a:xfrm>
            <a:off x="1010200" y="1434950"/>
            <a:ext cx="7131300" cy="2780100"/>
          </a:xfrm>
          <a:prstGeom prst="rect">
            <a:avLst/>
          </a:prstGeom>
        </p:spPr>
        <p:txBody>
          <a:bodyPr spcFirstLastPara="1" wrap="square" lIns="91425" tIns="91425" rIns="91425" bIns="91425" anchor="t" anchorCtr="0"/>
          <a:lstStyle>
            <a:lvl1pPr marL="457200" lvl="0" indent="-381000">
              <a:spcBef>
                <a:spcPts val="600"/>
              </a:spcBef>
              <a:spcAft>
                <a:spcPts val="0"/>
              </a:spcAft>
              <a:buSzPts val="2400"/>
              <a:buChar char="»"/>
              <a:defRPr/>
            </a:lvl1pPr>
            <a:lvl2pPr marL="914400" lvl="1" indent="-381000">
              <a:spcBef>
                <a:spcPts val="0"/>
              </a:spcBef>
              <a:spcAft>
                <a:spcPts val="0"/>
              </a:spcAft>
              <a:buSzPts val="2400"/>
              <a:buChar char="»"/>
              <a:defRPr/>
            </a:lvl2pPr>
            <a:lvl3pPr marL="1371600" lvl="2" indent="-381000">
              <a:spcBef>
                <a:spcPts val="0"/>
              </a:spcBef>
              <a:spcAft>
                <a:spcPts val="0"/>
              </a:spcAft>
              <a:buSzPts val="2400"/>
              <a:buChar char="»"/>
              <a:defRPr/>
            </a:lvl3pPr>
            <a:lvl4pPr marL="1828800" lvl="3" indent="-381000">
              <a:spcBef>
                <a:spcPts val="0"/>
              </a:spcBef>
              <a:spcAft>
                <a:spcPts val="0"/>
              </a:spcAft>
              <a:buSzPts val="2400"/>
              <a:buChar char="●"/>
              <a:defRPr/>
            </a:lvl4pPr>
            <a:lvl5pPr marL="2286000" lvl="4" indent="-381000">
              <a:spcBef>
                <a:spcPts val="0"/>
              </a:spcBef>
              <a:spcAft>
                <a:spcPts val="0"/>
              </a:spcAft>
              <a:buSzPts val="2400"/>
              <a:buChar char="○"/>
              <a:defRPr/>
            </a:lvl5pPr>
            <a:lvl6pPr marL="2743200" lvl="5" indent="-381000">
              <a:spcBef>
                <a:spcPts val="0"/>
              </a:spcBef>
              <a:spcAft>
                <a:spcPts val="0"/>
              </a:spcAft>
              <a:buSzPts val="2400"/>
              <a:buChar char="■"/>
              <a:defRPr/>
            </a:lvl6pPr>
            <a:lvl7pPr marL="3200400" lvl="6" indent="-381000">
              <a:spcBef>
                <a:spcPts val="0"/>
              </a:spcBef>
              <a:spcAft>
                <a:spcPts val="0"/>
              </a:spcAft>
              <a:buSzPts val="2400"/>
              <a:buChar char="●"/>
              <a:defRPr/>
            </a:lvl7pPr>
            <a:lvl8pPr marL="3657600" lvl="7" indent="-381000">
              <a:spcBef>
                <a:spcPts val="0"/>
              </a:spcBef>
              <a:spcAft>
                <a:spcPts val="0"/>
              </a:spcAft>
              <a:buSzPts val="2400"/>
              <a:buChar char="○"/>
              <a:defRPr/>
            </a:lvl8pPr>
            <a:lvl9pPr marL="4114800" lvl="8" indent="-381000">
              <a:spcBef>
                <a:spcPts val="0"/>
              </a:spcBef>
              <a:spcAft>
                <a:spcPts val="0"/>
              </a:spcAft>
              <a:buSzPts val="2400"/>
              <a:buChar char="■"/>
              <a:defRPr/>
            </a:lvl9pPr>
          </a:lstStyle>
          <a:p>
            <a:endParaRPr/>
          </a:p>
        </p:txBody>
      </p:sp>
      <p:sp>
        <p:nvSpPr>
          <p:cNvPr id="29" name="Google Shape;29;p5"/>
          <p:cNvSpPr txBox="1">
            <a:spLocks noGrp="1"/>
          </p:cNvSpPr>
          <p:nvPr>
            <p:ph type="sldNum" idx="12"/>
          </p:nvPr>
        </p:nvSpPr>
        <p:spPr>
          <a:xfrm>
            <a:off x="7766425" y="648725"/>
            <a:ext cx="548700" cy="671400"/>
          </a:xfrm>
          <a:prstGeom prst="rect">
            <a:avLst/>
          </a:prstGeom>
        </p:spPr>
        <p:txBody>
          <a:bodyPr spcFirstLastPara="1" wrap="square" lIns="91425" tIns="91425" rIns="91425" bIns="91425" anchor="b"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1038378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3/1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marL="0" lvl="0" indent="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375049969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pPr/>
              <a:t>3/10/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marL="0" lvl="0" indent="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1869845491"/>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3/10/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lvl="0" indent="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399435293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3/10/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pPr marL="0" lvl="0" indent="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340635068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3/10/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pPr marL="0" lvl="0" indent="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76096270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3/10/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pPr marL="0" lvl="0" indent="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42281991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3/10/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lvl="0" indent="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287051933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3/10/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marL="0" lvl="0" indent="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129973394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48A87A34-81AB-432B-8DAE-1953F412C126}" type="datetimeFigureOut">
              <a:rPr lang="en-US" smtClean="0"/>
              <a:pPr/>
              <a:t>3/10/2023</a:t>
            </a:fld>
            <a:endParaRPr lang="en-US" dirty="0"/>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marL="0" lvl="0" indent="0">
              <a:spcBef>
                <a:spcPts val="0"/>
              </a:spcBef>
              <a:spcAft>
                <a:spcPts val="0"/>
              </a:spcAft>
              <a:buNone/>
            </a:pPr>
            <a:fld id="{00000000-1234-1234-1234-123412341234}" type="slidenum">
              <a:rPr lang="en" smtClean="0"/>
              <a:t>‹#›</a:t>
            </a:fld>
            <a:endParaRPr lang="en"/>
          </a:p>
        </p:txBody>
      </p:sp>
    </p:spTree>
    <p:extLst>
      <p:ext uri="{BB962C8B-B14F-4D97-AF65-F5344CB8AC3E}">
        <p14:creationId xmlns:p14="http://schemas.microsoft.com/office/powerpoint/2010/main" val="3686964286"/>
      </p:ext>
    </p:extLst>
  </p:cSld>
  <p:clrMap bg1="dk1" tx1="lt1" bg2="dk2" tx2="lt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6" r:id="rId12"/>
  </p:sldLayoutIdLst>
  <p:transition>
    <p:fade thruBlk="1"/>
  </p:transition>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5.png"/><Relationship Id="rId5" Type="http://schemas.microsoft.com/office/2007/relationships/hdphoto" Target="../media/hdphoto2.wdp"/><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3.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tags" Target="../tags/tag1.xml"/><Relationship Id="rId6" Type="http://schemas.microsoft.com/office/2007/relationships/hdphoto" Target="../media/hdphoto4.wdp"/><Relationship Id="rId5" Type="http://schemas.openxmlformats.org/officeDocument/2006/relationships/image" Target="../media/image8.png"/><Relationship Id="rId10" Type="http://schemas.microsoft.com/office/2007/relationships/hdphoto" Target="../media/hdphoto6.wdp"/><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B7AD9F6-8CE7-4299-8FC6-328F4DCD3F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52001DA7-9CFB-804D-ADDD-E3C4B2307FEF}"/>
              </a:ext>
            </a:extLst>
          </p:cNvPr>
          <p:cNvSpPr>
            <a:spLocks noGrp="1"/>
          </p:cNvSpPr>
          <p:nvPr>
            <p:ph type="title"/>
          </p:nvPr>
        </p:nvSpPr>
        <p:spPr>
          <a:xfrm>
            <a:off x="667753" y="480060"/>
            <a:ext cx="2800511" cy="2674620"/>
          </a:xfrm>
        </p:spPr>
        <p:txBody>
          <a:bodyPr vert="horz" lIns="91440" tIns="45720" rIns="91440" bIns="45720" rtlCol="0" anchor="b">
            <a:normAutofit/>
          </a:bodyPr>
          <a:lstStyle/>
          <a:p>
            <a:pPr defTabSz="914400"/>
            <a:r>
              <a:rPr lang="en-US" sz="4100"/>
              <a:t>Funding in the Capital Markets</a:t>
            </a:r>
          </a:p>
        </p:txBody>
      </p:sp>
      <p:sp>
        <p:nvSpPr>
          <p:cNvPr id="4" name="Text Placeholder 3">
            <a:extLst>
              <a:ext uri="{FF2B5EF4-FFF2-40B4-BE49-F238E27FC236}">
                <a16:creationId xmlns:a16="http://schemas.microsoft.com/office/drawing/2014/main" id="{434FB45A-E928-1347-B164-4C50789A3A6F}"/>
              </a:ext>
            </a:extLst>
          </p:cNvPr>
          <p:cNvSpPr>
            <a:spLocks noGrp="1"/>
          </p:cNvSpPr>
          <p:nvPr>
            <p:ph type="body" idx="1"/>
          </p:nvPr>
        </p:nvSpPr>
        <p:spPr>
          <a:xfrm>
            <a:off x="667754" y="3477006"/>
            <a:ext cx="2800510" cy="1179576"/>
          </a:xfrm>
        </p:spPr>
        <p:txBody>
          <a:bodyPr vert="horz" lIns="91440" tIns="45720" rIns="91440" bIns="45720" rtlCol="0">
            <a:normAutofit/>
          </a:bodyPr>
          <a:lstStyle/>
          <a:p>
            <a:pPr defTabSz="914400">
              <a:spcBef>
                <a:spcPts val="1000"/>
              </a:spcBef>
            </a:pPr>
            <a:endParaRPr lang="en-US" sz="2400" b="0" dirty="0">
              <a:solidFill>
                <a:schemeClr val="tx1"/>
              </a:solidFill>
            </a:endParaRPr>
          </a:p>
        </p:txBody>
      </p:sp>
      <p:sp>
        <p:nvSpPr>
          <p:cNvPr id="11" name="sketchy line">
            <a:extLst>
              <a:ext uri="{FF2B5EF4-FFF2-40B4-BE49-F238E27FC236}">
                <a16:creationId xmlns:a16="http://schemas.microsoft.com/office/drawing/2014/main" id="{F49775AF-8896-43EE-92C6-83497D6DC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7753" y="3306950"/>
            <a:ext cx="2606040" cy="13716"/>
          </a:xfrm>
          <a:custGeom>
            <a:avLst/>
            <a:gdLst>
              <a:gd name="connsiteX0" fmla="*/ 0 w 2606040"/>
              <a:gd name="connsiteY0" fmla="*/ 0 h 13716"/>
              <a:gd name="connsiteX1" fmla="*/ 625450 w 2606040"/>
              <a:gd name="connsiteY1" fmla="*/ 0 h 13716"/>
              <a:gd name="connsiteX2" fmla="*/ 1224839 w 2606040"/>
              <a:gd name="connsiteY2" fmla="*/ 0 h 13716"/>
              <a:gd name="connsiteX3" fmla="*/ 1824228 w 2606040"/>
              <a:gd name="connsiteY3" fmla="*/ 0 h 13716"/>
              <a:gd name="connsiteX4" fmla="*/ 2606040 w 2606040"/>
              <a:gd name="connsiteY4" fmla="*/ 0 h 13716"/>
              <a:gd name="connsiteX5" fmla="*/ 2606040 w 2606040"/>
              <a:gd name="connsiteY5" fmla="*/ 13716 h 13716"/>
              <a:gd name="connsiteX6" fmla="*/ 1902409 w 2606040"/>
              <a:gd name="connsiteY6" fmla="*/ 13716 h 13716"/>
              <a:gd name="connsiteX7" fmla="*/ 1276960 w 2606040"/>
              <a:gd name="connsiteY7" fmla="*/ 13716 h 13716"/>
              <a:gd name="connsiteX8" fmla="*/ 677570 w 2606040"/>
              <a:gd name="connsiteY8" fmla="*/ 13716 h 13716"/>
              <a:gd name="connsiteX9" fmla="*/ 0 w 2606040"/>
              <a:gd name="connsiteY9" fmla="*/ 13716 h 13716"/>
              <a:gd name="connsiteX10" fmla="*/ 0 w 2606040"/>
              <a:gd name="connsiteY10" fmla="*/ 0 h 13716"/>
              <a:gd name="connsiteX0" fmla="*/ 0 w 2606040"/>
              <a:gd name="connsiteY0" fmla="*/ 0 h 13716"/>
              <a:gd name="connsiteX1" fmla="*/ 599389 w 2606040"/>
              <a:gd name="connsiteY1" fmla="*/ 0 h 13716"/>
              <a:gd name="connsiteX2" fmla="*/ 1303020 w 2606040"/>
              <a:gd name="connsiteY2" fmla="*/ 0 h 13716"/>
              <a:gd name="connsiteX3" fmla="*/ 1876349 w 2606040"/>
              <a:gd name="connsiteY3" fmla="*/ 0 h 13716"/>
              <a:gd name="connsiteX4" fmla="*/ 2606040 w 2606040"/>
              <a:gd name="connsiteY4" fmla="*/ 0 h 13716"/>
              <a:gd name="connsiteX5" fmla="*/ 2606040 w 2606040"/>
              <a:gd name="connsiteY5" fmla="*/ 13716 h 13716"/>
              <a:gd name="connsiteX6" fmla="*/ 1980590 w 2606040"/>
              <a:gd name="connsiteY6" fmla="*/ 13716 h 13716"/>
              <a:gd name="connsiteX7" fmla="*/ 1276960 w 2606040"/>
              <a:gd name="connsiteY7" fmla="*/ 13716 h 13716"/>
              <a:gd name="connsiteX8" fmla="*/ 651510 w 2606040"/>
              <a:gd name="connsiteY8" fmla="*/ 13716 h 13716"/>
              <a:gd name="connsiteX9" fmla="*/ 0 w 2606040"/>
              <a:gd name="connsiteY9" fmla="*/ 13716 h 13716"/>
              <a:gd name="connsiteX10" fmla="*/ 0 w 2606040"/>
              <a:gd name="connsiteY10"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3716" fill="none" extrusionOk="0">
                <a:moveTo>
                  <a:pt x="0" y="0"/>
                </a:moveTo>
                <a:cubicBezTo>
                  <a:pt x="211079" y="-22080"/>
                  <a:pt x="479378" y="-26537"/>
                  <a:pt x="625450" y="0"/>
                </a:cubicBezTo>
                <a:cubicBezTo>
                  <a:pt x="925937" y="-4758"/>
                  <a:pt x="973176" y="15739"/>
                  <a:pt x="1224839" y="0"/>
                </a:cubicBezTo>
                <a:cubicBezTo>
                  <a:pt x="1479663" y="-11328"/>
                  <a:pt x="1566636" y="18697"/>
                  <a:pt x="1824228" y="0"/>
                </a:cubicBezTo>
                <a:cubicBezTo>
                  <a:pt x="2086799" y="-72665"/>
                  <a:pt x="2306223" y="-891"/>
                  <a:pt x="2606040" y="0"/>
                </a:cubicBezTo>
                <a:cubicBezTo>
                  <a:pt x="2605838" y="5689"/>
                  <a:pt x="2605775" y="8075"/>
                  <a:pt x="2606040" y="13716"/>
                </a:cubicBezTo>
                <a:cubicBezTo>
                  <a:pt x="2260204" y="24770"/>
                  <a:pt x="2175708" y="1042"/>
                  <a:pt x="1902409" y="13716"/>
                </a:cubicBezTo>
                <a:cubicBezTo>
                  <a:pt x="1638502" y="36492"/>
                  <a:pt x="1460923" y="-20841"/>
                  <a:pt x="1276960" y="13716"/>
                </a:cubicBezTo>
                <a:cubicBezTo>
                  <a:pt x="1057717" y="9789"/>
                  <a:pt x="867956" y="-2252"/>
                  <a:pt x="677570" y="13716"/>
                </a:cubicBezTo>
                <a:cubicBezTo>
                  <a:pt x="457951" y="28801"/>
                  <a:pt x="189752" y="50816"/>
                  <a:pt x="0" y="13716"/>
                </a:cubicBezTo>
                <a:cubicBezTo>
                  <a:pt x="468" y="10483"/>
                  <a:pt x="836" y="5117"/>
                  <a:pt x="0" y="0"/>
                </a:cubicBezTo>
                <a:close/>
              </a:path>
              <a:path w="2606040" h="13716" stroke="0" extrusionOk="0">
                <a:moveTo>
                  <a:pt x="0" y="0"/>
                </a:moveTo>
                <a:cubicBezTo>
                  <a:pt x="172759" y="3236"/>
                  <a:pt x="361166" y="-13413"/>
                  <a:pt x="599389" y="0"/>
                </a:cubicBezTo>
                <a:cubicBezTo>
                  <a:pt x="841226" y="37042"/>
                  <a:pt x="968991" y="14587"/>
                  <a:pt x="1303020" y="0"/>
                </a:cubicBezTo>
                <a:cubicBezTo>
                  <a:pt x="1643101" y="-7120"/>
                  <a:pt x="1717813" y="7213"/>
                  <a:pt x="1876349" y="0"/>
                </a:cubicBezTo>
                <a:cubicBezTo>
                  <a:pt x="2036762" y="-14138"/>
                  <a:pt x="2426397" y="-4451"/>
                  <a:pt x="2606040" y="0"/>
                </a:cubicBezTo>
                <a:cubicBezTo>
                  <a:pt x="2607080" y="4836"/>
                  <a:pt x="2606317" y="7740"/>
                  <a:pt x="2606040" y="13716"/>
                </a:cubicBezTo>
                <a:cubicBezTo>
                  <a:pt x="2347059" y="-1948"/>
                  <a:pt x="2192004" y="4234"/>
                  <a:pt x="1980590" y="13716"/>
                </a:cubicBezTo>
                <a:cubicBezTo>
                  <a:pt x="1783984" y="-14317"/>
                  <a:pt x="1487673" y="41336"/>
                  <a:pt x="1276960" y="13716"/>
                </a:cubicBezTo>
                <a:cubicBezTo>
                  <a:pt x="1087111" y="-41823"/>
                  <a:pt x="879204" y="42195"/>
                  <a:pt x="651510" y="13716"/>
                </a:cubicBezTo>
                <a:cubicBezTo>
                  <a:pt x="430798" y="-32336"/>
                  <a:pt x="132889" y="-38039"/>
                  <a:pt x="0" y="13716"/>
                </a:cubicBezTo>
                <a:cubicBezTo>
                  <a:pt x="1109" y="8984"/>
                  <a:pt x="330" y="5748"/>
                  <a:pt x="0" y="0"/>
                </a:cubicBezTo>
                <a:close/>
              </a:path>
              <a:path w="2606040" h="13716" fill="none" stroke="0" extrusionOk="0">
                <a:moveTo>
                  <a:pt x="0" y="0"/>
                </a:moveTo>
                <a:cubicBezTo>
                  <a:pt x="202328" y="-14716"/>
                  <a:pt x="332722" y="-11499"/>
                  <a:pt x="625450" y="0"/>
                </a:cubicBezTo>
                <a:cubicBezTo>
                  <a:pt x="927712" y="6878"/>
                  <a:pt x="971143" y="7084"/>
                  <a:pt x="1224839" y="0"/>
                </a:cubicBezTo>
                <a:cubicBezTo>
                  <a:pt x="1477775" y="-16815"/>
                  <a:pt x="1569904" y="19146"/>
                  <a:pt x="1824228" y="0"/>
                </a:cubicBezTo>
                <a:cubicBezTo>
                  <a:pt x="2055206" y="24867"/>
                  <a:pt x="2317192" y="-62872"/>
                  <a:pt x="2606040" y="0"/>
                </a:cubicBezTo>
                <a:cubicBezTo>
                  <a:pt x="2605859" y="5467"/>
                  <a:pt x="2605677" y="7416"/>
                  <a:pt x="2606040" y="13716"/>
                </a:cubicBezTo>
                <a:cubicBezTo>
                  <a:pt x="2234648" y="22404"/>
                  <a:pt x="2180202" y="-14933"/>
                  <a:pt x="1902409" y="13716"/>
                </a:cubicBezTo>
                <a:cubicBezTo>
                  <a:pt x="1635562" y="42622"/>
                  <a:pt x="1477339" y="222"/>
                  <a:pt x="1276960" y="13716"/>
                </a:cubicBezTo>
                <a:cubicBezTo>
                  <a:pt x="1058094" y="62350"/>
                  <a:pt x="904206" y="-25208"/>
                  <a:pt x="677570" y="13716"/>
                </a:cubicBezTo>
                <a:cubicBezTo>
                  <a:pt x="485746" y="10141"/>
                  <a:pt x="195925" y="28433"/>
                  <a:pt x="0" y="13716"/>
                </a:cubicBezTo>
                <a:cubicBezTo>
                  <a:pt x="406" y="10107"/>
                  <a:pt x="891" y="4502"/>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custGeom>
                    <a:avLst/>
                    <a:gdLst>
                      <a:gd name="connsiteX0" fmla="*/ 0 w 2606040"/>
                      <a:gd name="connsiteY0" fmla="*/ 0 h 13716"/>
                      <a:gd name="connsiteX1" fmla="*/ 625450 w 2606040"/>
                      <a:gd name="connsiteY1" fmla="*/ 0 h 13716"/>
                      <a:gd name="connsiteX2" fmla="*/ 1224839 w 2606040"/>
                      <a:gd name="connsiteY2" fmla="*/ 0 h 13716"/>
                      <a:gd name="connsiteX3" fmla="*/ 1824228 w 2606040"/>
                      <a:gd name="connsiteY3" fmla="*/ 0 h 13716"/>
                      <a:gd name="connsiteX4" fmla="*/ 2606040 w 2606040"/>
                      <a:gd name="connsiteY4" fmla="*/ 0 h 13716"/>
                      <a:gd name="connsiteX5" fmla="*/ 2606040 w 2606040"/>
                      <a:gd name="connsiteY5" fmla="*/ 13716 h 13716"/>
                      <a:gd name="connsiteX6" fmla="*/ 1902409 w 2606040"/>
                      <a:gd name="connsiteY6" fmla="*/ 13716 h 13716"/>
                      <a:gd name="connsiteX7" fmla="*/ 1276960 w 2606040"/>
                      <a:gd name="connsiteY7" fmla="*/ 13716 h 13716"/>
                      <a:gd name="connsiteX8" fmla="*/ 677570 w 2606040"/>
                      <a:gd name="connsiteY8" fmla="*/ 13716 h 13716"/>
                      <a:gd name="connsiteX9" fmla="*/ 0 w 2606040"/>
                      <a:gd name="connsiteY9" fmla="*/ 13716 h 13716"/>
                      <a:gd name="connsiteX10" fmla="*/ 0 w 2606040"/>
                      <a:gd name="connsiteY10"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3716" fill="none" extrusionOk="0">
                        <a:moveTo>
                          <a:pt x="0" y="0"/>
                        </a:moveTo>
                        <a:cubicBezTo>
                          <a:pt x="266776" y="-600"/>
                          <a:pt x="322756" y="3201"/>
                          <a:pt x="625450" y="0"/>
                        </a:cubicBezTo>
                        <a:cubicBezTo>
                          <a:pt x="928144" y="-3201"/>
                          <a:pt x="968141" y="9269"/>
                          <a:pt x="1224839" y="0"/>
                        </a:cubicBezTo>
                        <a:cubicBezTo>
                          <a:pt x="1481537" y="-9269"/>
                          <a:pt x="1569059" y="21947"/>
                          <a:pt x="1824228" y="0"/>
                        </a:cubicBezTo>
                        <a:cubicBezTo>
                          <a:pt x="2079397" y="-21947"/>
                          <a:pt x="2326053" y="-10194"/>
                          <a:pt x="2606040" y="0"/>
                        </a:cubicBezTo>
                        <a:cubicBezTo>
                          <a:pt x="2605690" y="5728"/>
                          <a:pt x="2605650" y="7624"/>
                          <a:pt x="2606040" y="13716"/>
                        </a:cubicBezTo>
                        <a:cubicBezTo>
                          <a:pt x="2256758" y="26838"/>
                          <a:pt x="2173673" y="-17450"/>
                          <a:pt x="1902409" y="13716"/>
                        </a:cubicBezTo>
                        <a:cubicBezTo>
                          <a:pt x="1631145" y="44882"/>
                          <a:pt x="1461378" y="894"/>
                          <a:pt x="1276960" y="13716"/>
                        </a:cubicBezTo>
                        <a:cubicBezTo>
                          <a:pt x="1092542" y="26538"/>
                          <a:pt x="890442" y="8641"/>
                          <a:pt x="677570" y="13716"/>
                        </a:cubicBezTo>
                        <a:cubicBezTo>
                          <a:pt x="464698" y="18792"/>
                          <a:pt x="187648" y="31265"/>
                          <a:pt x="0" y="13716"/>
                        </a:cubicBezTo>
                        <a:cubicBezTo>
                          <a:pt x="-302" y="10335"/>
                          <a:pt x="417" y="4724"/>
                          <a:pt x="0" y="0"/>
                        </a:cubicBezTo>
                        <a:close/>
                      </a:path>
                      <a:path w="2606040" h="13716" stroke="0" extrusionOk="0">
                        <a:moveTo>
                          <a:pt x="0" y="0"/>
                        </a:moveTo>
                        <a:cubicBezTo>
                          <a:pt x="197231" y="3803"/>
                          <a:pt x="358914" y="-9291"/>
                          <a:pt x="599389" y="0"/>
                        </a:cubicBezTo>
                        <a:cubicBezTo>
                          <a:pt x="839864" y="9291"/>
                          <a:pt x="979371" y="8509"/>
                          <a:pt x="1303020" y="0"/>
                        </a:cubicBezTo>
                        <a:cubicBezTo>
                          <a:pt x="1626669" y="-8509"/>
                          <a:pt x="1726300" y="7440"/>
                          <a:pt x="1876349" y="0"/>
                        </a:cubicBezTo>
                        <a:cubicBezTo>
                          <a:pt x="2026398" y="-7440"/>
                          <a:pt x="2430712" y="17957"/>
                          <a:pt x="2606040" y="0"/>
                        </a:cubicBezTo>
                        <a:cubicBezTo>
                          <a:pt x="2606569" y="5071"/>
                          <a:pt x="2606315" y="7437"/>
                          <a:pt x="2606040" y="13716"/>
                        </a:cubicBezTo>
                        <a:cubicBezTo>
                          <a:pt x="2393024" y="-2332"/>
                          <a:pt x="2191161" y="34687"/>
                          <a:pt x="1980590" y="13716"/>
                        </a:cubicBezTo>
                        <a:cubicBezTo>
                          <a:pt x="1770019" y="-7255"/>
                          <a:pt x="1476440" y="31542"/>
                          <a:pt x="1276960" y="13716"/>
                        </a:cubicBezTo>
                        <a:cubicBezTo>
                          <a:pt x="1077480" y="-4110"/>
                          <a:pt x="880988" y="37553"/>
                          <a:pt x="651510" y="13716"/>
                        </a:cubicBezTo>
                        <a:cubicBezTo>
                          <a:pt x="422032" y="-10121"/>
                          <a:pt x="130744" y="-6519"/>
                          <a:pt x="0" y="13716"/>
                        </a:cubicBezTo>
                        <a:cubicBezTo>
                          <a:pt x="198" y="8947"/>
                          <a:pt x="304" y="520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pplication&#10;&#10;Description automatically generated with low confidence">
            <a:extLst>
              <a:ext uri="{FF2B5EF4-FFF2-40B4-BE49-F238E27FC236}">
                <a16:creationId xmlns:a16="http://schemas.microsoft.com/office/drawing/2014/main" id="{2A592B69-CF9A-23AF-78E2-CDE115E4E78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302" r="2" b="2"/>
          <a:stretch/>
        </p:blipFill>
        <p:spPr>
          <a:xfrm>
            <a:off x="3983776" y="10"/>
            <a:ext cx="5159081" cy="51434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10674625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lumMod val="50000"/>
          </a:schemeClr>
        </a:solidFill>
        <a:effectLst/>
      </p:bgPr>
    </p:bg>
    <p:spTree>
      <p:nvGrpSpPr>
        <p:cNvPr id="1" name="Shape 297"/>
        <p:cNvGrpSpPr/>
        <p:nvPr/>
      </p:nvGrpSpPr>
      <p:grpSpPr>
        <a:xfrm>
          <a:off x="0" y="0"/>
          <a:ext cx="0" cy="0"/>
          <a:chOff x="0" y="0"/>
          <a:chExt cx="0" cy="0"/>
        </a:xfrm>
      </p:grpSpPr>
      <p:sp useBgFill="1">
        <p:nvSpPr>
          <p:cNvPr id="326" name="Rectangle 325">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Google Shape;300;p36"/>
          <p:cNvSpPr txBox="1">
            <a:spLocks noGrp="1"/>
          </p:cNvSpPr>
          <p:nvPr>
            <p:ph type="title"/>
          </p:nvPr>
        </p:nvSpPr>
        <p:spPr>
          <a:xfrm>
            <a:off x="271736" y="236307"/>
            <a:ext cx="3276451" cy="1467631"/>
          </a:xfrm>
          <a:prstGeom prst="rect">
            <a:avLst/>
          </a:prstGeom>
        </p:spPr>
        <p:txBody>
          <a:bodyPr spcFirstLastPara="1" vert="horz" lIns="91440" tIns="45720" rIns="91440" bIns="45720" rtlCol="0" anchor="b" anchorCtr="0">
            <a:normAutofit/>
          </a:bodyPr>
          <a:lstStyle/>
          <a:p>
            <a:pPr marL="0" lvl="0" indent="0" defTabSz="914400">
              <a:spcBef>
                <a:spcPct val="0"/>
              </a:spcBef>
              <a:spcAft>
                <a:spcPts val="0"/>
              </a:spcAft>
            </a:pPr>
            <a:r>
              <a:rPr lang="en-US" sz="4100" dirty="0"/>
              <a:t>THANK YOU!</a:t>
            </a:r>
          </a:p>
        </p:txBody>
      </p:sp>
      <p:sp>
        <p:nvSpPr>
          <p:cNvPr id="328"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0060" y="1940245"/>
            <a:ext cx="2606040" cy="13716"/>
          </a:xfrm>
          <a:custGeom>
            <a:avLst/>
            <a:gdLst>
              <a:gd name="connsiteX0" fmla="*/ 0 w 2606040"/>
              <a:gd name="connsiteY0" fmla="*/ 0 h 13716"/>
              <a:gd name="connsiteX1" fmla="*/ 625450 w 2606040"/>
              <a:gd name="connsiteY1" fmla="*/ 0 h 13716"/>
              <a:gd name="connsiteX2" fmla="*/ 1224839 w 2606040"/>
              <a:gd name="connsiteY2" fmla="*/ 0 h 13716"/>
              <a:gd name="connsiteX3" fmla="*/ 1824228 w 2606040"/>
              <a:gd name="connsiteY3" fmla="*/ 0 h 13716"/>
              <a:gd name="connsiteX4" fmla="*/ 2606040 w 2606040"/>
              <a:gd name="connsiteY4" fmla="*/ 0 h 13716"/>
              <a:gd name="connsiteX5" fmla="*/ 2606040 w 2606040"/>
              <a:gd name="connsiteY5" fmla="*/ 13716 h 13716"/>
              <a:gd name="connsiteX6" fmla="*/ 1902409 w 2606040"/>
              <a:gd name="connsiteY6" fmla="*/ 13716 h 13716"/>
              <a:gd name="connsiteX7" fmla="*/ 1276960 w 2606040"/>
              <a:gd name="connsiteY7" fmla="*/ 13716 h 13716"/>
              <a:gd name="connsiteX8" fmla="*/ 677570 w 2606040"/>
              <a:gd name="connsiteY8" fmla="*/ 13716 h 13716"/>
              <a:gd name="connsiteX9" fmla="*/ 0 w 2606040"/>
              <a:gd name="connsiteY9" fmla="*/ 13716 h 13716"/>
              <a:gd name="connsiteX10" fmla="*/ 0 w 2606040"/>
              <a:gd name="connsiteY10" fmla="*/ 0 h 13716"/>
              <a:gd name="connsiteX0" fmla="*/ 0 w 2606040"/>
              <a:gd name="connsiteY0" fmla="*/ 0 h 13716"/>
              <a:gd name="connsiteX1" fmla="*/ 599389 w 2606040"/>
              <a:gd name="connsiteY1" fmla="*/ 0 h 13716"/>
              <a:gd name="connsiteX2" fmla="*/ 1303020 w 2606040"/>
              <a:gd name="connsiteY2" fmla="*/ 0 h 13716"/>
              <a:gd name="connsiteX3" fmla="*/ 1876349 w 2606040"/>
              <a:gd name="connsiteY3" fmla="*/ 0 h 13716"/>
              <a:gd name="connsiteX4" fmla="*/ 2606040 w 2606040"/>
              <a:gd name="connsiteY4" fmla="*/ 0 h 13716"/>
              <a:gd name="connsiteX5" fmla="*/ 2606040 w 2606040"/>
              <a:gd name="connsiteY5" fmla="*/ 13716 h 13716"/>
              <a:gd name="connsiteX6" fmla="*/ 1980590 w 2606040"/>
              <a:gd name="connsiteY6" fmla="*/ 13716 h 13716"/>
              <a:gd name="connsiteX7" fmla="*/ 1276960 w 2606040"/>
              <a:gd name="connsiteY7" fmla="*/ 13716 h 13716"/>
              <a:gd name="connsiteX8" fmla="*/ 651510 w 2606040"/>
              <a:gd name="connsiteY8" fmla="*/ 13716 h 13716"/>
              <a:gd name="connsiteX9" fmla="*/ 0 w 2606040"/>
              <a:gd name="connsiteY9" fmla="*/ 13716 h 13716"/>
              <a:gd name="connsiteX10" fmla="*/ 0 w 2606040"/>
              <a:gd name="connsiteY10"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3716" fill="none" extrusionOk="0">
                <a:moveTo>
                  <a:pt x="0" y="0"/>
                </a:moveTo>
                <a:cubicBezTo>
                  <a:pt x="211079" y="-22080"/>
                  <a:pt x="479378" y="-26537"/>
                  <a:pt x="625450" y="0"/>
                </a:cubicBezTo>
                <a:cubicBezTo>
                  <a:pt x="925937" y="-4758"/>
                  <a:pt x="973176" y="15739"/>
                  <a:pt x="1224839" y="0"/>
                </a:cubicBezTo>
                <a:cubicBezTo>
                  <a:pt x="1479663" y="-11328"/>
                  <a:pt x="1566636" y="18697"/>
                  <a:pt x="1824228" y="0"/>
                </a:cubicBezTo>
                <a:cubicBezTo>
                  <a:pt x="2086799" y="-72665"/>
                  <a:pt x="2306223" y="-891"/>
                  <a:pt x="2606040" y="0"/>
                </a:cubicBezTo>
                <a:cubicBezTo>
                  <a:pt x="2605838" y="5689"/>
                  <a:pt x="2605775" y="8075"/>
                  <a:pt x="2606040" y="13716"/>
                </a:cubicBezTo>
                <a:cubicBezTo>
                  <a:pt x="2260204" y="24770"/>
                  <a:pt x="2175708" y="1042"/>
                  <a:pt x="1902409" y="13716"/>
                </a:cubicBezTo>
                <a:cubicBezTo>
                  <a:pt x="1638502" y="36492"/>
                  <a:pt x="1460923" y="-20841"/>
                  <a:pt x="1276960" y="13716"/>
                </a:cubicBezTo>
                <a:cubicBezTo>
                  <a:pt x="1057717" y="9789"/>
                  <a:pt x="867956" y="-2252"/>
                  <a:pt x="677570" y="13716"/>
                </a:cubicBezTo>
                <a:cubicBezTo>
                  <a:pt x="457951" y="28801"/>
                  <a:pt x="189752" y="50816"/>
                  <a:pt x="0" y="13716"/>
                </a:cubicBezTo>
                <a:cubicBezTo>
                  <a:pt x="468" y="10483"/>
                  <a:pt x="836" y="5117"/>
                  <a:pt x="0" y="0"/>
                </a:cubicBezTo>
                <a:close/>
              </a:path>
              <a:path w="2606040" h="13716" stroke="0" extrusionOk="0">
                <a:moveTo>
                  <a:pt x="0" y="0"/>
                </a:moveTo>
                <a:cubicBezTo>
                  <a:pt x="172759" y="3236"/>
                  <a:pt x="361166" y="-13413"/>
                  <a:pt x="599389" y="0"/>
                </a:cubicBezTo>
                <a:cubicBezTo>
                  <a:pt x="841226" y="37042"/>
                  <a:pt x="968991" y="14587"/>
                  <a:pt x="1303020" y="0"/>
                </a:cubicBezTo>
                <a:cubicBezTo>
                  <a:pt x="1643101" y="-7120"/>
                  <a:pt x="1717813" y="7213"/>
                  <a:pt x="1876349" y="0"/>
                </a:cubicBezTo>
                <a:cubicBezTo>
                  <a:pt x="2036762" y="-14138"/>
                  <a:pt x="2426397" y="-4451"/>
                  <a:pt x="2606040" y="0"/>
                </a:cubicBezTo>
                <a:cubicBezTo>
                  <a:pt x="2607080" y="4836"/>
                  <a:pt x="2606317" y="7740"/>
                  <a:pt x="2606040" y="13716"/>
                </a:cubicBezTo>
                <a:cubicBezTo>
                  <a:pt x="2347059" y="-1948"/>
                  <a:pt x="2192004" y="4234"/>
                  <a:pt x="1980590" y="13716"/>
                </a:cubicBezTo>
                <a:cubicBezTo>
                  <a:pt x="1783984" y="-14317"/>
                  <a:pt x="1487673" y="41336"/>
                  <a:pt x="1276960" y="13716"/>
                </a:cubicBezTo>
                <a:cubicBezTo>
                  <a:pt x="1087111" y="-41823"/>
                  <a:pt x="879204" y="42195"/>
                  <a:pt x="651510" y="13716"/>
                </a:cubicBezTo>
                <a:cubicBezTo>
                  <a:pt x="430798" y="-32336"/>
                  <a:pt x="132889" y="-38039"/>
                  <a:pt x="0" y="13716"/>
                </a:cubicBezTo>
                <a:cubicBezTo>
                  <a:pt x="1109" y="8984"/>
                  <a:pt x="330" y="5748"/>
                  <a:pt x="0" y="0"/>
                </a:cubicBezTo>
                <a:close/>
              </a:path>
              <a:path w="2606040" h="13716" fill="none" stroke="0" extrusionOk="0">
                <a:moveTo>
                  <a:pt x="0" y="0"/>
                </a:moveTo>
                <a:cubicBezTo>
                  <a:pt x="202328" y="-14716"/>
                  <a:pt x="332722" y="-11499"/>
                  <a:pt x="625450" y="0"/>
                </a:cubicBezTo>
                <a:cubicBezTo>
                  <a:pt x="927712" y="6878"/>
                  <a:pt x="971143" y="7084"/>
                  <a:pt x="1224839" y="0"/>
                </a:cubicBezTo>
                <a:cubicBezTo>
                  <a:pt x="1477775" y="-16815"/>
                  <a:pt x="1569904" y="19146"/>
                  <a:pt x="1824228" y="0"/>
                </a:cubicBezTo>
                <a:cubicBezTo>
                  <a:pt x="2055206" y="24867"/>
                  <a:pt x="2317192" y="-62872"/>
                  <a:pt x="2606040" y="0"/>
                </a:cubicBezTo>
                <a:cubicBezTo>
                  <a:pt x="2605859" y="5467"/>
                  <a:pt x="2605677" y="7416"/>
                  <a:pt x="2606040" y="13716"/>
                </a:cubicBezTo>
                <a:cubicBezTo>
                  <a:pt x="2234648" y="22404"/>
                  <a:pt x="2180202" y="-14933"/>
                  <a:pt x="1902409" y="13716"/>
                </a:cubicBezTo>
                <a:cubicBezTo>
                  <a:pt x="1635562" y="42622"/>
                  <a:pt x="1477339" y="222"/>
                  <a:pt x="1276960" y="13716"/>
                </a:cubicBezTo>
                <a:cubicBezTo>
                  <a:pt x="1058094" y="62350"/>
                  <a:pt x="904206" y="-25208"/>
                  <a:pt x="677570" y="13716"/>
                </a:cubicBezTo>
                <a:cubicBezTo>
                  <a:pt x="485746" y="10141"/>
                  <a:pt x="195925" y="28433"/>
                  <a:pt x="0" y="13716"/>
                </a:cubicBezTo>
                <a:cubicBezTo>
                  <a:pt x="406" y="10107"/>
                  <a:pt x="891" y="4502"/>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custGeom>
                    <a:avLst/>
                    <a:gdLst>
                      <a:gd name="connsiteX0" fmla="*/ 0 w 2606040"/>
                      <a:gd name="connsiteY0" fmla="*/ 0 h 13716"/>
                      <a:gd name="connsiteX1" fmla="*/ 625450 w 2606040"/>
                      <a:gd name="connsiteY1" fmla="*/ 0 h 13716"/>
                      <a:gd name="connsiteX2" fmla="*/ 1224839 w 2606040"/>
                      <a:gd name="connsiteY2" fmla="*/ 0 h 13716"/>
                      <a:gd name="connsiteX3" fmla="*/ 1824228 w 2606040"/>
                      <a:gd name="connsiteY3" fmla="*/ 0 h 13716"/>
                      <a:gd name="connsiteX4" fmla="*/ 2606040 w 2606040"/>
                      <a:gd name="connsiteY4" fmla="*/ 0 h 13716"/>
                      <a:gd name="connsiteX5" fmla="*/ 2606040 w 2606040"/>
                      <a:gd name="connsiteY5" fmla="*/ 13716 h 13716"/>
                      <a:gd name="connsiteX6" fmla="*/ 1902409 w 2606040"/>
                      <a:gd name="connsiteY6" fmla="*/ 13716 h 13716"/>
                      <a:gd name="connsiteX7" fmla="*/ 1276960 w 2606040"/>
                      <a:gd name="connsiteY7" fmla="*/ 13716 h 13716"/>
                      <a:gd name="connsiteX8" fmla="*/ 677570 w 2606040"/>
                      <a:gd name="connsiteY8" fmla="*/ 13716 h 13716"/>
                      <a:gd name="connsiteX9" fmla="*/ 0 w 2606040"/>
                      <a:gd name="connsiteY9" fmla="*/ 13716 h 13716"/>
                      <a:gd name="connsiteX10" fmla="*/ 0 w 2606040"/>
                      <a:gd name="connsiteY10"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3716" fill="none" extrusionOk="0">
                        <a:moveTo>
                          <a:pt x="0" y="0"/>
                        </a:moveTo>
                        <a:cubicBezTo>
                          <a:pt x="266776" y="-600"/>
                          <a:pt x="322756" y="3201"/>
                          <a:pt x="625450" y="0"/>
                        </a:cubicBezTo>
                        <a:cubicBezTo>
                          <a:pt x="928144" y="-3201"/>
                          <a:pt x="968141" y="9269"/>
                          <a:pt x="1224839" y="0"/>
                        </a:cubicBezTo>
                        <a:cubicBezTo>
                          <a:pt x="1481537" y="-9269"/>
                          <a:pt x="1569059" y="21947"/>
                          <a:pt x="1824228" y="0"/>
                        </a:cubicBezTo>
                        <a:cubicBezTo>
                          <a:pt x="2079397" y="-21947"/>
                          <a:pt x="2326053" y="-10194"/>
                          <a:pt x="2606040" y="0"/>
                        </a:cubicBezTo>
                        <a:cubicBezTo>
                          <a:pt x="2605690" y="5728"/>
                          <a:pt x="2605650" y="7624"/>
                          <a:pt x="2606040" y="13716"/>
                        </a:cubicBezTo>
                        <a:cubicBezTo>
                          <a:pt x="2256758" y="26838"/>
                          <a:pt x="2173673" y="-17450"/>
                          <a:pt x="1902409" y="13716"/>
                        </a:cubicBezTo>
                        <a:cubicBezTo>
                          <a:pt x="1631145" y="44882"/>
                          <a:pt x="1461378" y="894"/>
                          <a:pt x="1276960" y="13716"/>
                        </a:cubicBezTo>
                        <a:cubicBezTo>
                          <a:pt x="1092542" y="26538"/>
                          <a:pt x="890442" y="8641"/>
                          <a:pt x="677570" y="13716"/>
                        </a:cubicBezTo>
                        <a:cubicBezTo>
                          <a:pt x="464698" y="18792"/>
                          <a:pt x="187648" y="31265"/>
                          <a:pt x="0" y="13716"/>
                        </a:cubicBezTo>
                        <a:cubicBezTo>
                          <a:pt x="-302" y="10335"/>
                          <a:pt x="417" y="4724"/>
                          <a:pt x="0" y="0"/>
                        </a:cubicBezTo>
                        <a:close/>
                      </a:path>
                      <a:path w="2606040" h="13716" stroke="0" extrusionOk="0">
                        <a:moveTo>
                          <a:pt x="0" y="0"/>
                        </a:moveTo>
                        <a:cubicBezTo>
                          <a:pt x="197231" y="3803"/>
                          <a:pt x="358914" y="-9291"/>
                          <a:pt x="599389" y="0"/>
                        </a:cubicBezTo>
                        <a:cubicBezTo>
                          <a:pt x="839864" y="9291"/>
                          <a:pt x="979371" y="8509"/>
                          <a:pt x="1303020" y="0"/>
                        </a:cubicBezTo>
                        <a:cubicBezTo>
                          <a:pt x="1626669" y="-8509"/>
                          <a:pt x="1726300" y="7440"/>
                          <a:pt x="1876349" y="0"/>
                        </a:cubicBezTo>
                        <a:cubicBezTo>
                          <a:pt x="2026398" y="-7440"/>
                          <a:pt x="2430712" y="17957"/>
                          <a:pt x="2606040" y="0"/>
                        </a:cubicBezTo>
                        <a:cubicBezTo>
                          <a:pt x="2606569" y="5071"/>
                          <a:pt x="2606315" y="7437"/>
                          <a:pt x="2606040" y="13716"/>
                        </a:cubicBezTo>
                        <a:cubicBezTo>
                          <a:pt x="2393024" y="-2332"/>
                          <a:pt x="2191161" y="34687"/>
                          <a:pt x="1980590" y="13716"/>
                        </a:cubicBezTo>
                        <a:cubicBezTo>
                          <a:pt x="1770019" y="-7255"/>
                          <a:pt x="1476440" y="31542"/>
                          <a:pt x="1276960" y="13716"/>
                        </a:cubicBezTo>
                        <a:cubicBezTo>
                          <a:pt x="1077480" y="-4110"/>
                          <a:pt x="880988" y="37553"/>
                          <a:pt x="651510" y="13716"/>
                        </a:cubicBezTo>
                        <a:cubicBezTo>
                          <a:pt x="422032" y="-10121"/>
                          <a:pt x="130744" y="-6519"/>
                          <a:pt x="0" y="13716"/>
                        </a:cubicBezTo>
                        <a:cubicBezTo>
                          <a:pt x="198" y="8947"/>
                          <a:pt x="304" y="5200"/>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Google Shape;298;p36"/>
          <p:cNvSpPr txBox="1">
            <a:spLocks noGrp="1"/>
          </p:cNvSpPr>
          <p:nvPr>
            <p:ph type="body" idx="1"/>
          </p:nvPr>
        </p:nvSpPr>
        <p:spPr>
          <a:xfrm>
            <a:off x="227618" y="2178468"/>
            <a:ext cx="3551613" cy="2490501"/>
          </a:xfrm>
          <a:prstGeom prst="rect">
            <a:avLst/>
          </a:prstGeom>
        </p:spPr>
        <p:txBody>
          <a:bodyPr spcFirstLastPara="1" vert="horz" lIns="91440" tIns="45720" rIns="91440" bIns="45720" rtlCol="0" anchorCtr="0">
            <a:normAutofit/>
          </a:bodyPr>
          <a:lstStyle/>
          <a:p>
            <a:pPr marL="0" lvl="0" indent="0" defTabSz="914400">
              <a:spcBef>
                <a:spcPts val="600"/>
              </a:spcBef>
              <a:spcAft>
                <a:spcPts val="0"/>
              </a:spcAft>
              <a:buNone/>
            </a:pPr>
            <a:r>
              <a:rPr lang="en-US" sz="1700" b="1" dirty="0"/>
              <a:t>          Questions? </a:t>
            </a:r>
          </a:p>
          <a:p>
            <a:pPr marL="76200" indent="-228600" defTabSz="914400">
              <a:spcBef>
                <a:spcPts val="0"/>
              </a:spcBef>
              <a:buFont typeface="Arial" panose="020B0604020202020204" pitchFamily="34" charset="0"/>
              <a:buChar char="•"/>
            </a:pPr>
            <a:endParaRPr lang="en-US" sz="1700" dirty="0"/>
          </a:p>
          <a:p>
            <a:pPr indent="-228600" defTabSz="914400">
              <a:spcBef>
                <a:spcPts val="0"/>
              </a:spcBef>
              <a:buFont typeface="Arial" panose="020B0604020202020204" pitchFamily="34" charset="0"/>
              <a:buChar char="•"/>
            </a:pPr>
            <a:endParaRPr lang="en-US" sz="1700" dirty="0"/>
          </a:p>
          <a:p>
            <a:pPr marL="76200" indent="-228600" defTabSz="914400">
              <a:spcBef>
                <a:spcPts val="0"/>
              </a:spcBef>
              <a:buFont typeface="Arial" panose="020B0604020202020204" pitchFamily="34" charset="0"/>
              <a:buChar char="•"/>
            </a:pPr>
            <a:endParaRPr lang="en-US" sz="1700" dirty="0"/>
          </a:p>
          <a:p>
            <a:pPr marL="76200" lvl="0" indent="-228600" defTabSz="914400">
              <a:spcBef>
                <a:spcPts val="0"/>
              </a:spcBef>
              <a:spcAft>
                <a:spcPts val="0"/>
              </a:spcAft>
              <a:buSzPts val="2400"/>
              <a:buFont typeface="Arial" panose="020B0604020202020204" pitchFamily="34" charset="0"/>
              <a:buChar char="•"/>
            </a:pPr>
            <a:endParaRPr lang="en-US" sz="1700" dirty="0"/>
          </a:p>
        </p:txBody>
      </p:sp>
      <p:pic>
        <p:nvPicPr>
          <p:cNvPr id="2" name="Picture 1" descr="Application&#10;&#10;Description automatically generated with low confidence">
            <a:extLst>
              <a:ext uri="{FF2B5EF4-FFF2-40B4-BE49-F238E27FC236}">
                <a16:creationId xmlns:a16="http://schemas.microsoft.com/office/drawing/2014/main" id="{42B465D8-CF25-4E5C-841C-5D9E952D15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302" r="2" b="2"/>
          <a:stretch/>
        </p:blipFill>
        <p:spPr>
          <a:xfrm>
            <a:off x="4010275" y="10"/>
            <a:ext cx="5159081" cy="51434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299" name="Google Shape;299;p36"/>
          <p:cNvSpPr txBox="1">
            <a:spLocks noGrp="1"/>
          </p:cNvSpPr>
          <p:nvPr>
            <p:ph type="sldNum" idx="12"/>
          </p:nvPr>
        </p:nvSpPr>
        <p:spPr>
          <a:xfrm>
            <a:off x="7829550" y="4767262"/>
            <a:ext cx="685800" cy="273844"/>
          </a:xfrm>
          <a:prstGeom prst="rect">
            <a:avLst/>
          </a:prstGeom>
        </p:spPr>
        <p:txBody>
          <a:bodyPr spcFirstLastPara="1" vert="horz" lIns="91440" tIns="45720" rIns="91440" bIns="45720" rtlCol="0" anchor="ctr" anchorCtr="0">
            <a:normAutofit/>
          </a:bodyPr>
          <a:lstStyle/>
          <a:p>
            <a:pPr defTabSz="914400">
              <a:lnSpc>
                <a:spcPct val="90000"/>
              </a:lnSpc>
              <a:spcAft>
                <a:spcPts val="600"/>
              </a:spcAft>
              <a:defRPr/>
            </a:pPr>
            <a:fld id="{00000000-1234-1234-1234-123412341234}" type="slidenum">
              <a:rPr lang="en-US" sz="700">
                <a:solidFill>
                  <a:srgbClr val="FFFFFF"/>
                </a:solidFill>
                <a:latin typeface="Calibri" panose="020F0502020204030204"/>
              </a:rPr>
              <a:pPr defTabSz="914400">
                <a:lnSpc>
                  <a:spcPct val="90000"/>
                </a:lnSpc>
                <a:spcAft>
                  <a:spcPts val="600"/>
                </a:spcAft>
                <a:defRPr/>
              </a:pPr>
              <a:t>10</a:t>
            </a:fld>
            <a:endParaRPr lang="en-US" sz="700">
              <a:solidFill>
                <a:srgbClr val="FFFFFF"/>
              </a:solidFill>
              <a:latin typeface="Calibri" panose="020F0502020204030204"/>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useBgFill="1">
        <p:nvSpPr>
          <p:cNvPr id="1028" name="Rectangle 1030">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38322FF-733E-649C-ED95-C7B0A55ABF80}"/>
              </a:ext>
            </a:extLst>
          </p:cNvPr>
          <p:cNvSpPr>
            <a:spLocks noGrp="1"/>
          </p:cNvSpPr>
          <p:nvPr>
            <p:ph type="title"/>
          </p:nvPr>
        </p:nvSpPr>
        <p:spPr>
          <a:xfrm>
            <a:off x="195208" y="-150552"/>
            <a:ext cx="8537825" cy="1289304"/>
          </a:xfrm>
        </p:spPr>
        <p:txBody>
          <a:bodyPr anchor="b">
            <a:noAutofit/>
          </a:bodyPr>
          <a:lstStyle/>
          <a:p>
            <a:r>
              <a:rPr lang="en-US" sz="3200" b="1" dirty="0">
                <a:solidFill>
                  <a:schemeClr val="accent1">
                    <a:lumMod val="50000"/>
                  </a:schemeClr>
                </a:solidFill>
              </a:rPr>
              <a:t>Funding is the Lifeblood of Equipment Finance Companies</a:t>
            </a:r>
          </a:p>
        </p:txBody>
      </p:sp>
      <p:sp>
        <p:nvSpPr>
          <p:cNvPr id="1029" name="sketch line">
            <a:extLst>
              <a:ext uri="{FF2B5EF4-FFF2-40B4-BE49-F238E27FC236}">
                <a16:creationId xmlns:a16="http://schemas.microsoft.com/office/drawing/2014/main" id="{6357EC4F-235E-4222-A36F-C7878ACE37F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2458" y="1930317"/>
            <a:ext cx="2441321" cy="13716"/>
          </a:xfrm>
          <a:custGeom>
            <a:avLst/>
            <a:gdLst>
              <a:gd name="connsiteX0" fmla="*/ 0 w 2441321"/>
              <a:gd name="connsiteY0" fmla="*/ 0 h 13716"/>
              <a:gd name="connsiteX1" fmla="*/ 585917 w 2441321"/>
              <a:gd name="connsiteY1" fmla="*/ 0 h 13716"/>
              <a:gd name="connsiteX2" fmla="*/ 1196247 w 2441321"/>
              <a:gd name="connsiteY2" fmla="*/ 0 h 13716"/>
              <a:gd name="connsiteX3" fmla="*/ 1806578 w 2441321"/>
              <a:gd name="connsiteY3" fmla="*/ 0 h 13716"/>
              <a:gd name="connsiteX4" fmla="*/ 2441321 w 2441321"/>
              <a:gd name="connsiteY4" fmla="*/ 0 h 13716"/>
              <a:gd name="connsiteX5" fmla="*/ 2441321 w 2441321"/>
              <a:gd name="connsiteY5" fmla="*/ 13716 h 13716"/>
              <a:gd name="connsiteX6" fmla="*/ 1830991 w 2441321"/>
              <a:gd name="connsiteY6" fmla="*/ 13716 h 13716"/>
              <a:gd name="connsiteX7" fmla="*/ 1269487 w 2441321"/>
              <a:gd name="connsiteY7" fmla="*/ 13716 h 13716"/>
              <a:gd name="connsiteX8" fmla="*/ 707983 w 2441321"/>
              <a:gd name="connsiteY8" fmla="*/ 13716 h 13716"/>
              <a:gd name="connsiteX9" fmla="*/ 0 w 2441321"/>
              <a:gd name="connsiteY9" fmla="*/ 13716 h 13716"/>
              <a:gd name="connsiteX10" fmla="*/ 0 w 2441321"/>
              <a:gd name="connsiteY10" fmla="*/ 0 h 13716"/>
              <a:gd name="connsiteX0" fmla="*/ 0 w 2441321"/>
              <a:gd name="connsiteY0" fmla="*/ 0 h 13716"/>
              <a:gd name="connsiteX1" fmla="*/ 585917 w 2441321"/>
              <a:gd name="connsiteY1" fmla="*/ 0 h 13716"/>
              <a:gd name="connsiteX2" fmla="*/ 1123008 w 2441321"/>
              <a:gd name="connsiteY2" fmla="*/ 0 h 13716"/>
              <a:gd name="connsiteX3" fmla="*/ 1782164 w 2441321"/>
              <a:gd name="connsiteY3" fmla="*/ 0 h 13716"/>
              <a:gd name="connsiteX4" fmla="*/ 2441321 w 2441321"/>
              <a:gd name="connsiteY4" fmla="*/ 0 h 13716"/>
              <a:gd name="connsiteX5" fmla="*/ 2441321 w 2441321"/>
              <a:gd name="connsiteY5" fmla="*/ 13716 h 13716"/>
              <a:gd name="connsiteX6" fmla="*/ 1879817 w 2441321"/>
              <a:gd name="connsiteY6" fmla="*/ 13716 h 13716"/>
              <a:gd name="connsiteX7" fmla="*/ 1318313 w 2441321"/>
              <a:gd name="connsiteY7" fmla="*/ 13716 h 13716"/>
              <a:gd name="connsiteX8" fmla="*/ 659157 w 2441321"/>
              <a:gd name="connsiteY8" fmla="*/ 13716 h 13716"/>
              <a:gd name="connsiteX9" fmla="*/ 0 w 2441321"/>
              <a:gd name="connsiteY9" fmla="*/ 13716 h 13716"/>
              <a:gd name="connsiteX10" fmla="*/ 0 w 2441321"/>
              <a:gd name="connsiteY10"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1321" h="13716" fill="none" extrusionOk="0">
                <a:moveTo>
                  <a:pt x="0" y="0"/>
                </a:moveTo>
                <a:cubicBezTo>
                  <a:pt x="280302" y="-6619"/>
                  <a:pt x="363201" y="4913"/>
                  <a:pt x="585917" y="0"/>
                </a:cubicBezTo>
                <a:cubicBezTo>
                  <a:pt x="832357" y="-10107"/>
                  <a:pt x="996738" y="-34312"/>
                  <a:pt x="1196247" y="0"/>
                </a:cubicBezTo>
                <a:cubicBezTo>
                  <a:pt x="1357180" y="16623"/>
                  <a:pt x="1575042" y="-11041"/>
                  <a:pt x="1806578" y="0"/>
                </a:cubicBezTo>
                <a:cubicBezTo>
                  <a:pt x="2016334" y="246"/>
                  <a:pt x="2239353" y="-8732"/>
                  <a:pt x="2441321" y="0"/>
                </a:cubicBezTo>
                <a:cubicBezTo>
                  <a:pt x="2440988" y="3698"/>
                  <a:pt x="2440649" y="9400"/>
                  <a:pt x="2441321" y="13716"/>
                </a:cubicBezTo>
                <a:cubicBezTo>
                  <a:pt x="2159375" y="44437"/>
                  <a:pt x="2054495" y="41094"/>
                  <a:pt x="1830991" y="13716"/>
                </a:cubicBezTo>
                <a:cubicBezTo>
                  <a:pt x="1615846" y="2937"/>
                  <a:pt x="1521674" y="-9994"/>
                  <a:pt x="1269487" y="13716"/>
                </a:cubicBezTo>
                <a:cubicBezTo>
                  <a:pt x="1019660" y="49388"/>
                  <a:pt x="886911" y="37779"/>
                  <a:pt x="707983" y="13716"/>
                </a:cubicBezTo>
                <a:cubicBezTo>
                  <a:pt x="523434" y="22749"/>
                  <a:pt x="307885" y="29744"/>
                  <a:pt x="0" y="13716"/>
                </a:cubicBezTo>
                <a:cubicBezTo>
                  <a:pt x="-361" y="7755"/>
                  <a:pt x="-276" y="2718"/>
                  <a:pt x="0" y="0"/>
                </a:cubicBezTo>
                <a:close/>
              </a:path>
              <a:path w="2441321" h="13716" stroke="0" extrusionOk="0">
                <a:moveTo>
                  <a:pt x="0" y="0"/>
                </a:moveTo>
                <a:cubicBezTo>
                  <a:pt x="212126" y="-10265"/>
                  <a:pt x="442910" y="-11728"/>
                  <a:pt x="585917" y="0"/>
                </a:cubicBezTo>
                <a:cubicBezTo>
                  <a:pt x="724579" y="21751"/>
                  <a:pt x="879365" y="-33198"/>
                  <a:pt x="1123008" y="0"/>
                </a:cubicBezTo>
                <a:cubicBezTo>
                  <a:pt x="1377247" y="11220"/>
                  <a:pt x="1597861" y="-34280"/>
                  <a:pt x="1782164" y="0"/>
                </a:cubicBezTo>
                <a:cubicBezTo>
                  <a:pt x="1975975" y="-3055"/>
                  <a:pt x="2116392" y="-15531"/>
                  <a:pt x="2441321" y="0"/>
                </a:cubicBezTo>
                <a:cubicBezTo>
                  <a:pt x="2441197" y="4300"/>
                  <a:pt x="2441101" y="8760"/>
                  <a:pt x="2441321" y="13716"/>
                </a:cubicBezTo>
                <a:cubicBezTo>
                  <a:pt x="2180658" y="13750"/>
                  <a:pt x="2084222" y="1362"/>
                  <a:pt x="1879817" y="13716"/>
                </a:cubicBezTo>
                <a:cubicBezTo>
                  <a:pt x="1668182" y="11650"/>
                  <a:pt x="1551159" y="-11049"/>
                  <a:pt x="1318313" y="13716"/>
                </a:cubicBezTo>
                <a:cubicBezTo>
                  <a:pt x="1059871" y="51823"/>
                  <a:pt x="901959" y="19259"/>
                  <a:pt x="659157" y="13716"/>
                </a:cubicBezTo>
                <a:cubicBezTo>
                  <a:pt x="444692" y="23911"/>
                  <a:pt x="245032" y="35310"/>
                  <a:pt x="0" y="13716"/>
                </a:cubicBezTo>
                <a:cubicBezTo>
                  <a:pt x="124" y="7937"/>
                  <a:pt x="389" y="2990"/>
                  <a:pt x="0" y="0"/>
                </a:cubicBezTo>
                <a:close/>
              </a:path>
              <a:path w="2441321" h="13716" fill="none" stroke="0" extrusionOk="0">
                <a:moveTo>
                  <a:pt x="0" y="0"/>
                </a:moveTo>
                <a:cubicBezTo>
                  <a:pt x="265389" y="-22361"/>
                  <a:pt x="344845" y="-65"/>
                  <a:pt x="585917" y="0"/>
                </a:cubicBezTo>
                <a:cubicBezTo>
                  <a:pt x="858472" y="13102"/>
                  <a:pt x="949265" y="-8078"/>
                  <a:pt x="1196247" y="0"/>
                </a:cubicBezTo>
                <a:cubicBezTo>
                  <a:pt x="1379248" y="30707"/>
                  <a:pt x="1585336" y="24963"/>
                  <a:pt x="1806578" y="0"/>
                </a:cubicBezTo>
                <a:cubicBezTo>
                  <a:pt x="1986731" y="-19207"/>
                  <a:pt x="2264933" y="16601"/>
                  <a:pt x="2441321" y="0"/>
                </a:cubicBezTo>
                <a:cubicBezTo>
                  <a:pt x="2441661" y="4449"/>
                  <a:pt x="2442057" y="7876"/>
                  <a:pt x="2441321" y="13716"/>
                </a:cubicBezTo>
                <a:cubicBezTo>
                  <a:pt x="2149099" y="22776"/>
                  <a:pt x="2027305" y="51898"/>
                  <a:pt x="1830991" y="13716"/>
                </a:cubicBezTo>
                <a:cubicBezTo>
                  <a:pt x="1614571" y="-23336"/>
                  <a:pt x="1500998" y="6155"/>
                  <a:pt x="1269487" y="13716"/>
                </a:cubicBezTo>
                <a:cubicBezTo>
                  <a:pt x="1042399" y="33262"/>
                  <a:pt x="927922" y="41250"/>
                  <a:pt x="707983" y="13716"/>
                </a:cubicBezTo>
                <a:cubicBezTo>
                  <a:pt x="502575" y="-9952"/>
                  <a:pt x="350393" y="29927"/>
                  <a:pt x="0" y="13716"/>
                </a:cubicBezTo>
                <a:cubicBezTo>
                  <a:pt x="-248" y="8631"/>
                  <a:pt x="228" y="3134"/>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custGeom>
                    <a:avLst/>
                    <a:gdLst>
                      <a:gd name="connsiteX0" fmla="*/ 0 w 2441321"/>
                      <a:gd name="connsiteY0" fmla="*/ 0 h 13716"/>
                      <a:gd name="connsiteX1" fmla="*/ 585917 w 2441321"/>
                      <a:gd name="connsiteY1" fmla="*/ 0 h 13716"/>
                      <a:gd name="connsiteX2" fmla="*/ 1196247 w 2441321"/>
                      <a:gd name="connsiteY2" fmla="*/ 0 h 13716"/>
                      <a:gd name="connsiteX3" fmla="*/ 1806578 w 2441321"/>
                      <a:gd name="connsiteY3" fmla="*/ 0 h 13716"/>
                      <a:gd name="connsiteX4" fmla="*/ 2441321 w 2441321"/>
                      <a:gd name="connsiteY4" fmla="*/ 0 h 13716"/>
                      <a:gd name="connsiteX5" fmla="*/ 2441321 w 2441321"/>
                      <a:gd name="connsiteY5" fmla="*/ 13716 h 13716"/>
                      <a:gd name="connsiteX6" fmla="*/ 1830991 w 2441321"/>
                      <a:gd name="connsiteY6" fmla="*/ 13716 h 13716"/>
                      <a:gd name="connsiteX7" fmla="*/ 1269487 w 2441321"/>
                      <a:gd name="connsiteY7" fmla="*/ 13716 h 13716"/>
                      <a:gd name="connsiteX8" fmla="*/ 707983 w 2441321"/>
                      <a:gd name="connsiteY8" fmla="*/ 13716 h 13716"/>
                      <a:gd name="connsiteX9" fmla="*/ 0 w 2441321"/>
                      <a:gd name="connsiteY9" fmla="*/ 13716 h 13716"/>
                      <a:gd name="connsiteX10" fmla="*/ 0 w 2441321"/>
                      <a:gd name="connsiteY10"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1321" h="13716" fill="none" extrusionOk="0">
                        <a:moveTo>
                          <a:pt x="0" y="0"/>
                        </a:moveTo>
                        <a:cubicBezTo>
                          <a:pt x="273217" y="-17533"/>
                          <a:pt x="355785" y="-4171"/>
                          <a:pt x="585917" y="0"/>
                        </a:cubicBezTo>
                        <a:cubicBezTo>
                          <a:pt x="816049" y="4171"/>
                          <a:pt x="991446" y="-9419"/>
                          <a:pt x="1196247" y="0"/>
                        </a:cubicBezTo>
                        <a:cubicBezTo>
                          <a:pt x="1401048" y="9419"/>
                          <a:pt x="1589984" y="-731"/>
                          <a:pt x="1806578" y="0"/>
                        </a:cubicBezTo>
                        <a:cubicBezTo>
                          <a:pt x="2023172" y="731"/>
                          <a:pt x="2247754" y="8393"/>
                          <a:pt x="2441321" y="0"/>
                        </a:cubicBezTo>
                        <a:cubicBezTo>
                          <a:pt x="2440939" y="4363"/>
                          <a:pt x="2441580" y="8857"/>
                          <a:pt x="2441321" y="13716"/>
                        </a:cubicBezTo>
                        <a:cubicBezTo>
                          <a:pt x="2169723" y="25934"/>
                          <a:pt x="2045712" y="34568"/>
                          <a:pt x="1830991" y="13716"/>
                        </a:cubicBezTo>
                        <a:cubicBezTo>
                          <a:pt x="1616270" y="-7136"/>
                          <a:pt x="1505876" y="-623"/>
                          <a:pt x="1269487" y="13716"/>
                        </a:cubicBezTo>
                        <a:cubicBezTo>
                          <a:pt x="1033098" y="28055"/>
                          <a:pt x="908661" y="36619"/>
                          <a:pt x="707983" y="13716"/>
                        </a:cubicBezTo>
                        <a:cubicBezTo>
                          <a:pt x="507305" y="-9187"/>
                          <a:pt x="333592" y="16187"/>
                          <a:pt x="0" y="13716"/>
                        </a:cubicBezTo>
                        <a:cubicBezTo>
                          <a:pt x="-459" y="8317"/>
                          <a:pt x="190" y="2744"/>
                          <a:pt x="0" y="0"/>
                        </a:cubicBezTo>
                        <a:close/>
                      </a:path>
                      <a:path w="2441321" h="13716" stroke="0" extrusionOk="0">
                        <a:moveTo>
                          <a:pt x="0" y="0"/>
                        </a:moveTo>
                        <a:cubicBezTo>
                          <a:pt x="207071" y="-14617"/>
                          <a:pt x="444194" y="-15606"/>
                          <a:pt x="585917" y="0"/>
                        </a:cubicBezTo>
                        <a:cubicBezTo>
                          <a:pt x="727640" y="15606"/>
                          <a:pt x="904326" y="-79"/>
                          <a:pt x="1123008" y="0"/>
                        </a:cubicBezTo>
                        <a:cubicBezTo>
                          <a:pt x="1341690" y="79"/>
                          <a:pt x="1600014" y="10401"/>
                          <a:pt x="1782164" y="0"/>
                        </a:cubicBezTo>
                        <a:cubicBezTo>
                          <a:pt x="1964314" y="-10401"/>
                          <a:pt x="2143537" y="-21488"/>
                          <a:pt x="2441321" y="0"/>
                        </a:cubicBezTo>
                        <a:cubicBezTo>
                          <a:pt x="2441507" y="3335"/>
                          <a:pt x="2441322" y="9457"/>
                          <a:pt x="2441321" y="13716"/>
                        </a:cubicBezTo>
                        <a:cubicBezTo>
                          <a:pt x="2166745" y="24201"/>
                          <a:pt x="2078726" y="10904"/>
                          <a:pt x="1879817" y="13716"/>
                        </a:cubicBezTo>
                        <a:cubicBezTo>
                          <a:pt x="1680908" y="16528"/>
                          <a:pt x="1548770" y="-8699"/>
                          <a:pt x="1318313" y="13716"/>
                        </a:cubicBezTo>
                        <a:cubicBezTo>
                          <a:pt x="1087856" y="36131"/>
                          <a:pt x="894613" y="-645"/>
                          <a:pt x="659157" y="13716"/>
                        </a:cubicBezTo>
                        <a:cubicBezTo>
                          <a:pt x="423701" y="28077"/>
                          <a:pt x="246611" y="29403"/>
                          <a:pt x="0" y="13716"/>
                        </a:cubicBezTo>
                        <a:cubicBezTo>
                          <a:pt x="-120" y="7867"/>
                          <a:pt x="674" y="3919"/>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4E8062E5-DCBE-2BB7-1FF5-01604B608EC5}"/>
              </a:ext>
            </a:extLst>
          </p:cNvPr>
          <p:cNvGrpSpPr/>
          <p:nvPr/>
        </p:nvGrpSpPr>
        <p:grpSpPr>
          <a:xfrm>
            <a:off x="195208" y="1225876"/>
            <a:ext cx="8024116" cy="3830499"/>
            <a:chOff x="1581179" y="616485"/>
            <a:chExt cx="5943600" cy="3147763"/>
          </a:xfrm>
        </p:grpSpPr>
        <p:pic>
          <p:nvPicPr>
            <p:cNvPr id="1026" name="Picture 1179939457">
              <a:extLst>
                <a:ext uri="{FF2B5EF4-FFF2-40B4-BE49-F238E27FC236}">
                  <a16:creationId xmlns:a16="http://schemas.microsoft.com/office/drawing/2014/main" id="{CFFB57C8-F727-C3ED-6FB9-3709676CC352}"/>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581179" y="921885"/>
              <a:ext cx="5943600" cy="2675374"/>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8E494AC2-0513-55ED-D93A-1BA4BBADD4EA}"/>
                </a:ext>
              </a:extLst>
            </p:cNvPr>
            <p:cNvSpPr txBox="1"/>
            <p:nvPr/>
          </p:nvSpPr>
          <p:spPr>
            <a:xfrm>
              <a:off x="3701117" y="616485"/>
              <a:ext cx="1914728" cy="276822"/>
            </a:xfrm>
            <a:prstGeom prst="roundRect">
              <a:avLst/>
            </a:prstGeom>
            <a:noFill/>
          </p:spPr>
          <p:txBody>
            <a:bodyPr wrap="none" rtlCol="0">
              <a:spAutoFit/>
            </a:bodyPr>
            <a:lstStyle/>
            <a:p>
              <a:pPr defTabSz="384048">
                <a:spcAft>
                  <a:spcPts val="600"/>
                </a:spcAft>
              </a:pPr>
              <a:r>
                <a:rPr lang="en-US" sz="1400" b="1" kern="1200" dirty="0">
                  <a:solidFill>
                    <a:srgbClr val="000000"/>
                  </a:solidFill>
                  <a:latin typeface="Arial" panose="020B0604020202020204" pitchFamily="34" charset="0"/>
                  <a:ea typeface="+mn-ea"/>
                  <a:cs typeface="Arial" panose="020B0604020202020204" pitchFamily="34" charset="0"/>
                </a:rPr>
                <a:t>Sequencing of Funding Tools</a:t>
              </a:r>
              <a:endParaRPr lang="en-US" sz="1400" b="1" dirty="0">
                <a:solidFill>
                  <a:srgbClr val="00000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28D905C-E2A6-BAB5-C1F8-733B7628C261}"/>
                </a:ext>
              </a:extLst>
            </p:cNvPr>
            <p:cNvSpPr txBox="1"/>
            <p:nvPr/>
          </p:nvSpPr>
          <p:spPr>
            <a:xfrm>
              <a:off x="2078958" y="3576963"/>
              <a:ext cx="5338321" cy="187285"/>
            </a:xfrm>
            <a:prstGeom prst="roundRect">
              <a:avLst/>
            </a:prstGeom>
            <a:noFill/>
          </p:spPr>
          <p:txBody>
            <a:bodyPr wrap="none" rtlCol="0">
              <a:spAutoFit/>
            </a:bodyPr>
            <a:lstStyle/>
            <a:p>
              <a:pPr defTabSz="384048">
                <a:spcAft>
                  <a:spcPts val="600"/>
                </a:spcAft>
              </a:pPr>
              <a:r>
                <a:rPr lang="en-US" sz="420" i="1" kern="1200" dirty="0">
                  <a:solidFill>
                    <a:srgbClr val="000000"/>
                  </a:solidFill>
                  <a:latin typeface="Arial" panose="020B0604020202020204" pitchFamily="34" charset="0"/>
                  <a:ea typeface="+mn-ea"/>
                  <a:cs typeface="Arial" panose="020B0604020202020204" pitchFamily="34" charset="0"/>
                </a:rPr>
                <a:t>Sources: The Alta Group, LLC, Best Practices in Equipment Finance Funding, Securitization &amp; Syndication for Today and Tomorrow (Equipment Leasing &amp; Finance Foundation, 2022).</a:t>
              </a:r>
              <a:endParaRPr lang="en-US" sz="500" i="1" dirty="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6807213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EFF0B061-F37E-6B0C-C1F7-32C61C65DB7D}"/>
              </a:ext>
            </a:extLst>
          </p:cNvPr>
          <p:cNvSpPr>
            <a:spLocks noGrp="1"/>
          </p:cNvSpPr>
          <p:nvPr>
            <p:ph type="title"/>
          </p:nvPr>
        </p:nvSpPr>
        <p:spPr>
          <a:xfrm>
            <a:off x="628650" y="273843"/>
            <a:ext cx="7886700" cy="994173"/>
          </a:xfrm>
        </p:spPr>
        <p:txBody>
          <a:bodyPr vert="horz" lIns="91440" tIns="45720" rIns="91440" bIns="45720" rtlCol="0" anchor="ctr">
            <a:normAutofit/>
          </a:bodyPr>
          <a:lstStyle/>
          <a:p>
            <a:pPr defTabSz="914400"/>
            <a:r>
              <a:rPr lang="en-US" sz="3200" kern="1200" dirty="0">
                <a:solidFill>
                  <a:schemeClr val="accent5">
                    <a:lumMod val="50000"/>
                  </a:schemeClr>
                </a:solidFill>
                <a:latin typeface="+mj-lt"/>
                <a:ea typeface="+mj-ea"/>
                <a:cs typeface="+mj-cs"/>
              </a:rPr>
              <a:t>Three Capital Markets Activities for Equipment Finance Companies </a:t>
            </a:r>
          </a:p>
        </p:txBody>
      </p:sp>
      <p:sp>
        <p:nvSpPr>
          <p:cNvPr id="28"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1777" y="1258029"/>
            <a:ext cx="8140446" cy="13716"/>
          </a:xfrm>
          <a:custGeom>
            <a:avLst/>
            <a:gdLst>
              <a:gd name="connsiteX0" fmla="*/ 0 w 8140446"/>
              <a:gd name="connsiteY0" fmla="*/ 0 h 13716"/>
              <a:gd name="connsiteX1" fmla="*/ 434157 w 8140446"/>
              <a:gd name="connsiteY1" fmla="*/ 0 h 13716"/>
              <a:gd name="connsiteX2" fmla="*/ 1193932 w 8140446"/>
              <a:gd name="connsiteY2" fmla="*/ 0 h 13716"/>
              <a:gd name="connsiteX3" fmla="*/ 1628089 w 8140446"/>
              <a:gd name="connsiteY3" fmla="*/ 0 h 13716"/>
              <a:gd name="connsiteX4" fmla="*/ 2225055 w 8140446"/>
              <a:gd name="connsiteY4" fmla="*/ 0 h 13716"/>
              <a:gd name="connsiteX5" fmla="*/ 3066235 w 8140446"/>
              <a:gd name="connsiteY5" fmla="*/ 0 h 13716"/>
              <a:gd name="connsiteX6" fmla="*/ 3744605 w 8140446"/>
              <a:gd name="connsiteY6" fmla="*/ 0 h 13716"/>
              <a:gd name="connsiteX7" fmla="*/ 4504380 w 8140446"/>
              <a:gd name="connsiteY7" fmla="*/ 0 h 13716"/>
              <a:gd name="connsiteX8" fmla="*/ 5101346 w 8140446"/>
              <a:gd name="connsiteY8" fmla="*/ 0 h 13716"/>
              <a:gd name="connsiteX9" fmla="*/ 5779717 w 8140446"/>
              <a:gd name="connsiteY9" fmla="*/ 0 h 13716"/>
              <a:gd name="connsiteX10" fmla="*/ 6620896 w 8140446"/>
              <a:gd name="connsiteY10" fmla="*/ 0 h 13716"/>
              <a:gd name="connsiteX11" fmla="*/ 7136458 w 8140446"/>
              <a:gd name="connsiteY11" fmla="*/ 0 h 13716"/>
              <a:gd name="connsiteX12" fmla="*/ 8140446 w 8140446"/>
              <a:gd name="connsiteY12" fmla="*/ 0 h 13716"/>
              <a:gd name="connsiteX13" fmla="*/ 8140446 w 8140446"/>
              <a:gd name="connsiteY13" fmla="*/ 13716 h 13716"/>
              <a:gd name="connsiteX14" fmla="*/ 7543480 w 8140446"/>
              <a:gd name="connsiteY14" fmla="*/ 13716 h 13716"/>
              <a:gd name="connsiteX15" fmla="*/ 7109323 w 8140446"/>
              <a:gd name="connsiteY15" fmla="*/ 13716 h 13716"/>
              <a:gd name="connsiteX16" fmla="*/ 6430952 w 8140446"/>
              <a:gd name="connsiteY16" fmla="*/ 13716 h 13716"/>
              <a:gd name="connsiteX17" fmla="*/ 5915391 w 8140446"/>
              <a:gd name="connsiteY17" fmla="*/ 13716 h 13716"/>
              <a:gd name="connsiteX18" fmla="*/ 5237020 w 8140446"/>
              <a:gd name="connsiteY18" fmla="*/ 13716 h 13716"/>
              <a:gd name="connsiteX19" fmla="*/ 4558650 w 8140446"/>
              <a:gd name="connsiteY19" fmla="*/ 13716 h 13716"/>
              <a:gd name="connsiteX20" fmla="*/ 3880279 w 8140446"/>
              <a:gd name="connsiteY20" fmla="*/ 13716 h 13716"/>
              <a:gd name="connsiteX21" fmla="*/ 3201909 w 8140446"/>
              <a:gd name="connsiteY21" fmla="*/ 13716 h 13716"/>
              <a:gd name="connsiteX22" fmla="*/ 2604943 w 8140446"/>
              <a:gd name="connsiteY22" fmla="*/ 13716 h 13716"/>
              <a:gd name="connsiteX23" fmla="*/ 1845168 w 8140446"/>
              <a:gd name="connsiteY23" fmla="*/ 13716 h 13716"/>
              <a:gd name="connsiteX24" fmla="*/ 1166797 w 8140446"/>
              <a:gd name="connsiteY24" fmla="*/ 13716 h 13716"/>
              <a:gd name="connsiteX25" fmla="*/ 0 w 8140446"/>
              <a:gd name="connsiteY25" fmla="*/ 13716 h 13716"/>
              <a:gd name="connsiteX26" fmla="*/ 0 w 8140446"/>
              <a:gd name="connsiteY26" fmla="*/ 0 h 13716"/>
              <a:gd name="connsiteX0" fmla="*/ 0 w 8140446"/>
              <a:gd name="connsiteY0" fmla="*/ 0 h 13716"/>
              <a:gd name="connsiteX1" fmla="*/ 596966 w 8140446"/>
              <a:gd name="connsiteY1" fmla="*/ 0 h 13716"/>
              <a:gd name="connsiteX2" fmla="*/ 1031123 w 8140446"/>
              <a:gd name="connsiteY2" fmla="*/ 0 h 13716"/>
              <a:gd name="connsiteX3" fmla="*/ 1872303 w 8140446"/>
              <a:gd name="connsiteY3" fmla="*/ 0 h 13716"/>
              <a:gd name="connsiteX4" fmla="*/ 2469269 w 8140446"/>
              <a:gd name="connsiteY4" fmla="*/ 0 h 13716"/>
              <a:gd name="connsiteX5" fmla="*/ 3066235 w 8140446"/>
              <a:gd name="connsiteY5" fmla="*/ 0 h 13716"/>
              <a:gd name="connsiteX6" fmla="*/ 3907414 w 8140446"/>
              <a:gd name="connsiteY6" fmla="*/ 0 h 13716"/>
              <a:gd name="connsiteX7" fmla="*/ 4422976 w 8140446"/>
              <a:gd name="connsiteY7" fmla="*/ 0 h 13716"/>
              <a:gd name="connsiteX8" fmla="*/ 5264155 w 8140446"/>
              <a:gd name="connsiteY8" fmla="*/ 0 h 13716"/>
              <a:gd name="connsiteX9" fmla="*/ 6105335 w 8140446"/>
              <a:gd name="connsiteY9" fmla="*/ 0 h 13716"/>
              <a:gd name="connsiteX10" fmla="*/ 6783705 w 8140446"/>
              <a:gd name="connsiteY10" fmla="*/ 0 h 13716"/>
              <a:gd name="connsiteX11" fmla="*/ 8140446 w 8140446"/>
              <a:gd name="connsiteY11" fmla="*/ 0 h 13716"/>
              <a:gd name="connsiteX12" fmla="*/ 8140446 w 8140446"/>
              <a:gd name="connsiteY12" fmla="*/ 13716 h 13716"/>
              <a:gd name="connsiteX13" fmla="*/ 7706289 w 8140446"/>
              <a:gd name="connsiteY13" fmla="*/ 13716 h 13716"/>
              <a:gd name="connsiteX14" fmla="*/ 6865109 w 8140446"/>
              <a:gd name="connsiteY14" fmla="*/ 13716 h 13716"/>
              <a:gd name="connsiteX15" fmla="*/ 6349548 w 8140446"/>
              <a:gd name="connsiteY15" fmla="*/ 13716 h 13716"/>
              <a:gd name="connsiteX16" fmla="*/ 5671177 w 8140446"/>
              <a:gd name="connsiteY16" fmla="*/ 13716 h 13716"/>
              <a:gd name="connsiteX17" fmla="*/ 4829998 w 8140446"/>
              <a:gd name="connsiteY17" fmla="*/ 13716 h 13716"/>
              <a:gd name="connsiteX18" fmla="*/ 4151627 w 8140446"/>
              <a:gd name="connsiteY18" fmla="*/ 13716 h 13716"/>
              <a:gd name="connsiteX19" fmla="*/ 3717470 w 8140446"/>
              <a:gd name="connsiteY19" fmla="*/ 13716 h 13716"/>
              <a:gd name="connsiteX20" fmla="*/ 3201909 w 8140446"/>
              <a:gd name="connsiteY20" fmla="*/ 13716 h 13716"/>
              <a:gd name="connsiteX21" fmla="*/ 2360729 w 8140446"/>
              <a:gd name="connsiteY21" fmla="*/ 13716 h 13716"/>
              <a:gd name="connsiteX22" fmla="*/ 1682359 w 8140446"/>
              <a:gd name="connsiteY22" fmla="*/ 13716 h 13716"/>
              <a:gd name="connsiteX23" fmla="*/ 1166797 w 8140446"/>
              <a:gd name="connsiteY23" fmla="*/ 13716 h 13716"/>
              <a:gd name="connsiteX24" fmla="*/ 0 w 8140446"/>
              <a:gd name="connsiteY24" fmla="*/ 13716 h 13716"/>
              <a:gd name="connsiteX25" fmla="*/ 0 w 8140446"/>
              <a:gd name="connsiteY25"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140446" h="13716" fill="none" extrusionOk="0">
                <a:moveTo>
                  <a:pt x="0" y="0"/>
                </a:moveTo>
                <a:cubicBezTo>
                  <a:pt x="87427" y="6231"/>
                  <a:pt x="309612" y="-26324"/>
                  <a:pt x="434157" y="0"/>
                </a:cubicBezTo>
                <a:cubicBezTo>
                  <a:pt x="536972" y="29330"/>
                  <a:pt x="959392" y="28619"/>
                  <a:pt x="1193932" y="0"/>
                </a:cubicBezTo>
                <a:cubicBezTo>
                  <a:pt x="1446097" y="13819"/>
                  <a:pt x="1471680" y="7203"/>
                  <a:pt x="1628089" y="0"/>
                </a:cubicBezTo>
                <a:cubicBezTo>
                  <a:pt x="1817415" y="4047"/>
                  <a:pt x="1949536" y="-59324"/>
                  <a:pt x="2225055" y="0"/>
                </a:cubicBezTo>
                <a:cubicBezTo>
                  <a:pt x="2520490" y="18365"/>
                  <a:pt x="2717469" y="18707"/>
                  <a:pt x="3066235" y="0"/>
                </a:cubicBezTo>
                <a:cubicBezTo>
                  <a:pt x="3437075" y="3751"/>
                  <a:pt x="3408347" y="31644"/>
                  <a:pt x="3744605" y="0"/>
                </a:cubicBezTo>
                <a:cubicBezTo>
                  <a:pt x="4097249" y="-11527"/>
                  <a:pt x="4249699" y="-32555"/>
                  <a:pt x="4504380" y="0"/>
                </a:cubicBezTo>
                <a:cubicBezTo>
                  <a:pt x="4737570" y="17980"/>
                  <a:pt x="4877497" y="1006"/>
                  <a:pt x="5101346" y="0"/>
                </a:cubicBezTo>
                <a:cubicBezTo>
                  <a:pt x="5359305" y="-15330"/>
                  <a:pt x="5447195" y="7257"/>
                  <a:pt x="5779717" y="0"/>
                </a:cubicBezTo>
                <a:cubicBezTo>
                  <a:pt x="6090019" y="-17621"/>
                  <a:pt x="6273151" y="4279"/>
                  <a:pt x="6620896" y="0"/>
                </a:cubicBezTo>
                <a:cubicBezTo>
                  <a:pt x="6968586" y="34056"/>
                  <a:pt x="6990073" y="23587"/>
                  <a:pt x="7136458" y="0"/>
                </a:cubicBezTo>
                <a:cubicBezTo>
                  <a:pt x="7320575" y="20480"/>
                  <a:pt x="7847401" y="-6173"/>
                  <a:pt x="8140446" y="0"/>
                </a:cubicBezTo>
                <a:cubicBezTo>
                  <a:pt x="8139575" y="3138"/>
                  <a:pt x="8140433" y="8565"/>
                  <a:pt x="8140446" y="13716"/>
                </a:cubicBezTo>
                <a:cubicBezTo>
                  <a:pt x="7908069" y="-25208"/>
                  <a:pt x="7683037" y="17405"/>
                  <a:pt x="7543480" y="13716"/>
                </a:cubicBezTo>
                <a:cubicBezTo>
                  <a:pt x="7393752" y="5478"/>
                  <a:pt x="7221032" y="-7801"/>
                  <a:pt x="7109323" y="13716"/>
                </a:cubicBezTo>
                <a:cubicBezTo>
                  <a:pt x="7015297" y="17911"/>
                  <a:pt x="6599332" y="36327"/>
                  <a:pt x="6430952" y="13716"/>
                </a:cubicBezTo>
                <a:cubicBezTo>
                  <a:pt x="6292915" y="-38722"/>
                  <a:pt x="6142305" y="16935"/>
                  <a:pt x="5915391" y="13716"/>
                </a:cubicBezTo>
                <a:cubicBezTo>
                  <a:pt x="5682725" y="43271"/>
                  <a:pt x="5440566" y="26848"/>
                  <a:pt x="5237020" y="13716"/>
                </a:cubicBezTo>
                <a:cubicBezTo>
                  <a:pt x="5046456" y="6005"/>
                  <a:pt x="4706449" y="47404"/>
                  <a:pt x="4558650" y="13716"/>
                </a:cubicBezTo>
                <a:cubicBezTo>
                  <a:pt x="4361396" y="-5559"/>
                  <a:pt x="4145362" y="-26875"/>
                  <a:pt x="3880279" y="13716"/>
                </a:cubicBezTo>
                <a:cubicBezTo>
                  <a:pt x="3610716" y="20839"/>
                  <a:pt x="3472690" y="-564"/>
                  <a:pt x="3201909" y="13716"/>
                </a:cubicBezTo>
                <a:cubicBezTo>
                  <a:pt x="2913595" y="30525"/>
                  <a:pt x="2753317" y="-5721"/>
                  <a:pt x="2604943" y="13716"/>
                </a:cubicBezTo>
                <a:cubicBezTo>
                  <a:pt x="2450130" y="32417"/>
                  <a:pt x="1974183" y="35587"/>
                  <a:pt x="1845168" y="13716"/>
                </a:cubicBezTo>
                <a:cubicBezTo>
                  <a:pt x="1677929" y="-4352"/>
                  <a:pt x="1378098" y="-5344"/>
                  <a:pt x="1166797" y="13716"/>
                </a:cubicBezTo>
                <a:cubicBezTo>
                  <a:pt x="921150" y="48705"/>
                  <a:pt x="327457" y="42725"/>
                  <a:pt x="0" y="13716"/>
                </a:cubicBezTo>
                <a:cubicBezTo>
                  <a:pt x="-457" y="9675"/>
                  <a:pt x="580" y="3290"/>
                  <a:pt x="0" y="0"/>
                </a:cubicBezTo>
                <a:close/>
              </a:path>
              <a:path w="8140446" h="13716" stroke="0" extrusionOk="0">
                <a:moveTo>
                  <a:pt x="0" y="0"/>
                </a:moveTo>
                <a:cubicBezTo>
                  <a:pt x="136968" y="-25482"/>
                  <a:pt x="379786" y="11224"/>
                  <a:pt x="596966" y="0"/>
                </a:cubicBezTo>
                <a:cubicBezTo>
                  <a:pt x="815878" y="-21223"/>
                  <a:pt x="832062" y="11868"/>
                  <a:pt x="1031123" y="0"/>
                </a:cubicBezTo>
                <a:cubicBezTo>
                  <a:pt x="1256800" y="-30738"/>
                  <a:pt x="1658090" y="-20345"/>
                  <a:pt x="1872303" y="0"/>
                </a:cubicBezTo>
                <a:cubicBezTo>
                  <a:pt x="2115604" y="28431"/>
                  <a:pt x="2277865" y="-40642"/>
                  <a:pt x="2469269" y="0"/>
                </a:cubicBezTo>
                <a:cubicBezTo>
                  <a:pt x="2679731" y="25919"/>
                  <a:pt x="2788602" y="-6498"/>
                  <a:pt x="3066235" y="0"/>
                </a:cubicBezTo>
                <a:cubicBezTo>
                  <a:pt x="3325663" y="-14487"/>
                  <a:pt x="3706561" y="67517"/>
                  <a:pt x="3907414" y="0"/>
                </a:cubicBezTo>
                <a:cubicBezTo>
                  <a:pt x="4127229" y="-37113"/>
                  <a:pt x="4179037" y="-8167"/>
                  <a:pt x="4422976" y="0"/>
                </a:cubicBezTo>
                <a:cubicBezTo>
                  <a:pt x="4683575" y="-28486"/>
                  <a:pt x="5055803" y="-13799"/>
                  <a:pt x="5264155" y="0"/>
                </a:cubicBezTo>
                <a:cubicBezTo>
                  <a:pt x="5513566" y="14315"/>
                  <a:pt x="5735215" y="2768"/>
                  <a:pt x="6105335" y="0"/>
                </a:cubicBezTo>
                <a:cubicBezTo>
                  <a:pt x="6510913" y="-12587"/>
                  <a:pt x="6456171" y="3247"/>
                  <a:pt x="6783705" y="0"/>
                </a:cubicBezTo>
                <a:cubicBezTo>
                  <a:pt x="7057099" y="-15461"/>
                  <a:pt x="7592067" y="5384"/>
                  <a:pt x="8140446" y="0"/>
                </a:cubicBezTo>
                <a:cubicBezTo>
                  <a:pt x="8139761" y="5232"/>
                  <a:pt x="8140368" y="9058"/>
                  <a:pt x="8140446" y="13716"/>
                </a:cubicBezTo>
                <a:cubicBezTo>
                  <a:pt x="7961834" y="3834"/>
                  <a:pt x="7874097" y="5778"/>
                  <a:pt x="7706289" y="13716"/>
                </a:cubicBezTo>
                <a:cubicBezTo>
                  <a:pt x="7582508" y="-19492"/>
                  <a:pt x="7179551" y="-37683"/>
                  <a:pt x="6865109" y="13716"/>
                </a:cubicBezTo>
                <a:cubicBezTo>
                  <a:pt x="6583382" y="19545"/>
                  <a:pt x="6525821" y="32124"/>
                  <a:pt x="6349548" y="13716"/>
                </a:cubicBezTo>
                <a:cubicBezTo>
                  <a:pt x="6209953" y="6309"/>
                  <a:pt x="5959707" y="-52400"/>
                  <a:pt x="5671177" y="13716"/>
                </a:cubicBezTo>
                <a:cubicBezTo>
                  <a:pt x="5387744" y="25237"/>
                  <a:pt x="5228514" y="96935"/>
                  <a:pt x="4829998" y="13716"/>
                </a:cubicBezTo>
                <a:cubicBezTo>
                  <a:pt x="4415646" y="-33168"/>
                  <a:pt x="4343809" y="24382"/>
                  <a:pt x="4151627" y="13716"/>
                </a:cubicBezTo>
                <a:cubicBezTo>
                  <a:pt x="3950673" y="-14368"/>
                  <a:pt x="3879947" y="36571"/>
                  <a:pt x="3717470" y="13716"/>
                </a:cubicBezTo>
                <a:cubicBezTo>
                  <a:pt x="3558660" y="5538"/>
                  <a:pt x="3468854" y="24803"/>
                  <a:pt x="3201909" y="13716"/>
                </a:cubicBezTo>
                <a:cubicBezTo>
                  <a:pt x="2965673" y="5933"/>
                  <a:pt x="2568327" y="17544"/>
                  <a:pt x="2360729" y="13716"/>
                </a:cubicBezTo>
                <a:cubicBezTo>
                  <a:pt x="2171885" y="44572"/>
                  <a:pt x="1923258" y="11448"/>
                  <a:pt x="1682359" y="13716"/>
                </a:cubicBezTo>
                <a:cubicBezTo>
                  <a:pt x="1430698" y="-6950"/>
                  <a:pt x="1324229" y="-6323"/>
                  <a:pt x="1166797" y="13716"/>
                </a:cubicBezTo>
                <a:cubicBezTo>
                  <a:pt x="1001390" y="37223"/>
                  <a:pt x="324313" y="53392"/>
                  <a:pt x="0" y="13716"/>
                </a:cubicBezTo>
                <a:cubicBezTo>
                  <a:pt x="427" y="7441"/>
                  <a:pt x="425" y="4765"/>
                  <a:pt x="0" y="0"/>
                </a:cubicBezTo>
                <a:close/>
              </a:path>
              <a:path w="8140446" h="13716" fill="none" stroke="0" extrusionOk="0">
                <a:moveTo>
                  <a:pt x="0" y="0"/>
                </a:moveTo>
                <a:cubicBezTo>
                  <a:pt x="69532" y="-6557"/>
                  <a:pt x="264219" y="3919"/>
                  <a:pt x="434157" y="0"/>
                </a:cubicBezTo>
                <a:cubicBezTo>
                  <a:pt x="600013" y="9090"/>
                  <a:pt x="921449" y="-13478"/>
                  <a:pt x="1193932" y="0"/>
                </a:cubicBezTo>
                <a:cubicBezTo>
                  <a:pt x="1443592" y="14844"/>
                  <a:pt x="1471188" y="10722"/>
                  <a:pt x="1628089" y="0"/>
                </a:cubicBezTo>
                <a:cubicBezTo>
                  <a:pt x="1750006" y="-24149"/>
                  <a:pt x="1967480" y="-14904"/>
                  <a:pt x="2225055" y="0"/>
                </a:cubicBezTo>
                <a:cubicBezTo>
                  <a:pt x="2503918" y="19247"/>
                  <a:pt x="2709263" y="-16351"/>
                  <a:pt x="3066235" y="0"/>
                </a:cubicBezTo>
                <a:cubicBezTo>
                  <a:pt x="3429723" y="-1627"/>
                  <a:pt x="3399401" y="30976"/>
                  <a:pt x="3744605" y="0"/>
                </a:cubicBezTo>
                <a:cubicBezTo>
                  <a:pt x="4081920" y="-40602"/>
                  <a:pt x="4258272" y="-2441"/>
                  <a:pt x="4504380" y="0"/>
                </a:cubicBezTo>
                <a:cubicBezTo>
                  <a:pt x="4760039" y="21121"/>
                  <a:pt x="4866555" y="-1351"/>
                  <a:pt x="5101346" y="0"/>
                </a:cubicBezTo>
                <a:cubicBezTo>
                  <a:pt x="5336279" y="1859"/>
                  <a:pt x="5465100" y="30801"/>
                  <a:pt x="5779717" y="0"/>
                </a:cubicBezTo>
                <a:cubicBezTo>
                  <a:pt x="6117018" y="-2879"/>
                  <a:pt x="6273497" y="-5002"/>
                  <a:pt x="6620896" y="0"/>
                </a:cubicBezTo>
                <a:cubicBezTo>
                  <a:pt x="6972306" y="38666"/>
                  <a:pt x="6992056" y="28334"/>
                  <a:pt x="7136458" y="0"/>
                </a:cubicBezTo>
                <a:cubicBezTo>
                  <a:pt x="7325567" y="-61201"/>
                  <a:pt x="7766555" y="-88399"/>
                  <a:pt x="8140446" y="0"/>
                </a:cubicBezTo>
                <a:cubicBezTo>
                  <a:pt x="8140370" y="2812"/>
                  <a:pt x="8139830" y="9122"/>
                  <a:pt x="8140446" y="13716"/>
                </a:cubicBezTo>
                <a:cubicBezTo>
                  <a:pt x="7892673" y="-8584"/>
                  <a:pt x="7668025" y="-3922"/>
                  <a:pt x="7543480" y="13716"/>
                </a:cubicBezTo>
                <a:cubicBezTo>
                  <a:pt x="7406710" y="-8039"/>
                  <a:pt x="7207646" y="4321"/>
                  <a:pt x="7109323" y="13716"/>
                </a:cubicBezTo>
                <a:cubicBezTo>
                  <a:pt x="6993037" y="44439"/>
                  <a:pt x="6598723" y="54833"/>
                  <a:pt x="6430952" y="13716"/>
                </a:cubicBezTo>
                <a:cubicBezTo>
                  <a:pt x="6284771" y="10743"/>
                  <a:pt x="6162730" y="15778"/>
                  <a:pt x="5915391" y="13716"/>
                </a:cubicBezTo>
                <a:cubicBezTo>
                  <a:pt x="5684668" y="9031"/>
                  <a:pt x="5422852" y="49046"/>
                  <a:pt x="5237020" y="13716"/>
                </a:cubicBezTo>
                <a:cubicBezTo>
                  <a:pt x="5035482" y="21724"/>
                  <a:pt x="4719808" y="50573"/>
                  <a:pt x="4558650" y="13716"/>
                </a:cubicBezTo>
                <a:cubicBezTo>
                  <a:pt x="4375169" y="-40159"/>
                  <a:pt x="4137553" y="7514"/>
                  <a:pt x="3880279" y="13716"/>
                </a:cubicBezTo>
                <a:cubicBezTo>
                  <a:pt x="3624533" y="28076"/>
                  <a:pt x="3467387" y="1908"/>
                  <a:pt x="3201909" y="13716"/>
                </a:cubicBezTo>
                <a:cubicBezTo>
                  <a:pt x="2918126" y="68770"/>
                  <a:pt x="2717830" y="-21728"/>
                  <a:pt x="2604943" y="13716"/>
                </a:cubicBezTo>
                <a:cubicBezTo>
                  <a:pt x="2496133" y="39953"/>
                  <a:pt x="2003915" y="13682"/>
                  <a:pt x="1845168" y="13716"/>
                </a:cubicBezTo>
                <a:cubicBezTo>
                  <a:pt x="1694518" y="10417"/>
                  <a:pt x="1344959" y="39616"/>
                  <a:pt x="1166797" y="13716"/>
                </a:cubicBezTo>
                <a:cubicBezTo>
                  <a:pt x="935925" y="64879"/>
                  <a:pt x="319712" y="-68544"/>
                  <a:pt x="0" y="13716"/>
                </a:cubicBezTo>
                <a:cubicBezTo>
                  <a:pt x="203" y="9362"/>
                  <a:pt x="845" y="2328"/>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custGeom>
                    <a:avLst/>
                    <a:gdLst>
                      <a:gd name="connsiteX0" fmla="*/ 0 w 8140446"/>
                      <a:gd name="connsiteY0" fmla="*/ 0 h 13716"/>
                      <a:gd name="connsiteX1" fmla="*/ 434157 w 8140446"/>
                      <a:gd name="connsiteY1" fmla="*/ 0 h 13716"/>
                      <a:gd name="connsiteX2" fmla="*/ 1193932 w 8140446"/>
                      <a:gd name="connsiteY2" fmla="*/ 0 h 13716"/>
                      <a:gd name="connsiteX3" fmla="*/ 1628089 w 8140446"/>
                      <a:gd name="connsiteY3" fmla="*/ 0 h 13716"/>
                      <a:gd name="connsiteX4" fmla="*/ 2225055 w 8140446"/>
                      <a:gd name="connsiteY4" fmla="*/ 0 h 13716"/>
                      <a:gd name="connsiteX5" fmla="*/ 3066235 w 8140446"/>
                      <a:gd name="connsiteY5" fmla="*/ 0 h 13716"/>
                      <a:gd name="connsiteX6" fmla="*/ 3744605 w 8140446"/>
                      <a:gd name="connsiteY6" fmla="*/ 0 h 13716"/>
                      <a:gd name="connsiteX7" fmla="*/ 4504380 w 8140446"/>
                      <a:gd name="connsiteY7" fmla="*/ 0 h 13716"/>
                      <a:gd name="connsiteX8" fmla="*/ 5101346 w 8140446"/>
                      <a:gd name="connsiteY8" fmla="*/ 0 h 13716"/>
                      <a:gd name="connsiteX9" fmla="*/ 5779717 w 8140446"/>
                      <a:gd name="connsiteY9" fmla="*/ 0 h 13716"/>
                      <a:gd name="connsiteX10" fmla="*/ 6620896 w 8140446"/>
                      <a:gd name="connsiteY10" fmla="*/ 0 h 13716"/>
                      <a:gd name="connsiteX11" fmla="*/ 7136458 w 8140446"/>
                      <a:gd name="connsiteY11" fmla="*/ 0 h 13716"/>
                      <a:gd name="connsiteX12" fmla="*/ 8140446 w 8140446"/>
                      <a:gd name="connsiteY12" fmla="*/ 0 h 13716"/>
                      <a:gd name="connsiteX13" fmla="*/ 8140446 w 8140446"/>
                      <a:gd name="connsiteY13" fmla="*/ 13716 h 13716"/>
                      <a:gd name="connsiteX14" fmla="*/ 7543480 w 8140446"/>
                      <a:gd name="connsiteY14" fmla="*/ 13716 h 13716"/>
                      <a:gd name="connsiteX15" fmla="*/ 7109323 w 8140446"/>
                      <a:gd name="connsiteY15" fmla="*/ 13716 h 13716"/>
                      <a:gd name="connsiteX16" fmla="*/ 6430952 w 8140446"/>
                      <a:gd name="connsiteY16" fmla="*/ 13716 h 13716"/>
                      <a:gd name="connsiteX17" fmla="*/ 5915391 w 8140446"/>
                      <a:gd name="connsiteY17" fmla="*/ 13716 h 13716"/>
                      <a:gd name="connsiteX18" fmla="*/ 5237020 w 8140446"/>
                      <a:gd name="connsiteY18" fmla="*/ 13716 h 13716"/>
                      <a:gd name="connsiteX19" fmla="*/ 4558650 w 8140446"/>
                      <a:gd name="connsiteY19" fmla="*/ 13716 h 13716"/>
                      <a:gd name="connsiteX20" fmla="*/ 3880279 w 8140446"/>
                      <a:gd name="connsiteY20" fmla="*/ 13716 h 13716"/>
                      <a:gd name="connsiteX21" fmla="*/ 3201909 w 8140446"/>
                      <a:gd name="connsiteY21" fmla="*/ 13716 h 13716"/>
                      <a:gd name="connsiteX22" fmla="*/ 2604943 w 8140446"/>
                      <a:gd name="connsiteY22" fmla="*/ 13716 h 13716"/>
                      <a:gd name="connsiteX23" fmla="*/ 1845168 w 8140446"/>
                      <a:gd name="connsiteY23" fmla="*/ 13716 h 13716"/>
                      <a:gd name="connsiteX24" fmla="*/ 1166797 w 8140446"/>
                      <a:gd name="connsiteY24" fmla="*/ 13716 h 13716"/>
                      <a:gd name="connsiteX25" fmla="*/ 0 w 8140446"/>
                      <a:gd name="connsiteY25" fmla="*/ 13716 h 13716"/>
                      <a:gd name="connsiteX26" fmla="*/ 0 w 8140446"/>
                      <a:gd name="connsiteY26"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40446" h="13716" fill="none" extrusionOk="0">
                        <a:moveTo>
                          <a:pt x="0" y="0"/>
                        </a:moveTo>
                        <a:cubicBezTo>
                          <a:pt x="94920" y="9103"/>
                          <a:pt x="287892" y="-4966"/>
                          <a:pt x="434157" y="0"/>
                        </a:cubicBezTo>
                        <a:cubicBezTo>
                          <a:pt x="580422" y="4966"/>
                          <a:pt x="943595" y="-14182"/>
                          <a:pt x="1193932" y="0"/>
                        </a:cubicBezTo>
                        <a:cubicBezTo>
                          <a:pt x="1444270" y="14182"/>
                          <a:pt x="1472129" y="5523"/>
                          <a:pt x="1628089" y="0"/>
                        </a:cubicBezTo>
                        <a:cubicBezTo>
                          <a:pt x="1784049" y="-5523"/>
                          <a:pt x="1962419" y="-17322"/>
                          <a:pt x="2225055" y="0"/>
                        </a:cubicBezTo>
                        <a:cubicBezTo>
                          <a:pt x="2487691" y="17322"/>
                          <a:pt x="2700681" y="1311"/>
                          <a:pt x="3066235" y="0"/>
                        </a:cubicBezTo>
                        <a:cubicBezTo>
                          <a:pt x="3431789" y="-1311"/>
                          <a:pt x="3405662" y="25081"/>
                          <a:pt x="3744605" y="0"/>
                        </a:cubicBezTo>
                        <a:cubicBezTo>
                          <a:pt x="4083548" y="-25081"/>
                          <a:pt x="4265111" y="-11945"/>
                          <a:pt x="4504380" y="0"/>
                        </a:cubicBezTo>
                        <a:cubicBezTo>
                          <a:pt x="4743649" y="11945"/>
                          <a:pt x="4860394" y="-2832"/>
                          <a:pt x="5101346" y="0"/>
                        </a:cubicBezTo>
                        <a:cubicBezTo>
                          <a:pt x="5342298" y="2832"/>
                          <a:pt x="5456387" y="23676"/>
                          <a:pt x="5779717" y="0"/>
                        </a:cubicBezTo>
                        <a:cubicBezTo>
                          <a:pt x="6103047" y="-23676"/>
                          <a:pt x="6270379" y="-37291"/>
                          <a:pt x="6620896" y="0"/>
                        </a:cubicBezTo>
                        <a:cubicBezTo>
                          <a:pt x="6971413" y="37291"/>
                          <a:pt x="6989068" y="24674"/>
                          <a:pt x="7136458" y="0"/>
                        </a:cubicBezTo>
                        <a:cubicBezTo>
                          <a:pt x="7283848" y="-24674"/>
                          <a:pt x="7752532" y="-22436"/>
                          <a:pt x="8140446" y="0"/>
                        </a:cubicBezTo>
                        <a:cubicBezTo>
                          <a:pt x="8140543" y="2784"/>
                          <a:pt x="8140462" y="9558"/>
                          <a:pt x="8140446" y="13716"/>
                        </a:cubicBezTo>
                        <a:cubicBezTo>
                          <a:pt x="7906329" y="-7615"/>
                          <a:pt x="7681180" y="22893"/>
                          <a:pt x="7543480" y="13716"/>
                        </a:cubicBezTo>
                        <a:cubicBezTo>
                          <a:pt x="7405780" y="4539"/>
                          <a:pt x="7216607" y="-912"/>
                          <a:pt x="7109323" y="13716"/>
                        </a:cubicBezTo>
                        <a:cubicBezTo>
                          <a:pt x="7002039" y="28344"/>
                          <a:pt x="6576231" y="38120"/>
                          <a:pt x="6430952" y="13716"/>
                        </a:cubicBezTo>
                        <a:cubicBezTo>
                          <a:pt x="6285673" y="-10688"/>
                          <a:pt x="6138840" y="29949"/>
                          <a:pt x="5915391" y="13716"/>
                        </a:cubicBezTo>
                        <a:cubicBezTo>
                          <a:pt x="5691942" y="-2517"/>
                          <a:pt x="5459460" y="47094"/>
                          <a:pt x="5237020" y="13716"/>
                        </a:cubicBezTo>
                        <a:cubicBezTo>
                          <a:pt x="5014580" y="-19662"/>
                          <a:pt x="4747677" y="35877"/>
                          <a:pt x="4558650" y="13716"/>
                        </a:cubicBezTo>
                        <a:cubicBezTo>
                          <a:pt x="4369623" y="-8445"/>
                          <a:pt x="4146061" y="7996"/>
                          <a:pt x="3880279" y="13716"/>
                        </a:cubicBezTo>
                        <a:cubicBezTo>
                          <a:pt x="3614497" y="19436"/>
                          <a:pt x="3473808" y="-17480"/>
                          <a:pt x="3201909" y="13716"/>
                        </a:cubicBezTo>
                        <a:cubicBezTo>
                          <a:pt x="2930010" y="44912"/>
                          <a:pt x="2728175" y="-8002"/>
                          <a:pt x="2604943" y="13716"/>
                        </a:cubicBezTo>
                        <a:cubicBezTo>
                          <a:pt x="2481711" y="35434"/>
                          <a:pt x="2004334" y="22380"/>
                          <a:pt x="1845168" y="13716"/>
                        </a:cubicBezTo>
                        <a:cubicBezTo>
                          <a:pt x="1686003" y="5052"/>
                          <a:pt x="1375070" y="33008"/>
                          <a:pt x="1166797" y="13716"/>
                        </a:cubicBezTo>
                        <a:cubicBezTo>
                          <a:pt x="958524" y="-5576"/>
                          <a:pt x="342846" y="4308"/>
                          <a:pt x="0" y="13716"/>
                        </a:cubicBezTo>
                        <a:cubicBezTo>
                          <a:pt x="-100" y="9589"/>
                          <a:pt x="468" y="2983"/>
                          <a:pt x="0" y="0"/>
                        </a:cubicBezTo>
                        <a:close/>
                      </a:path>
                      <a:path w="8140446" h="13716" stroke="0" extrusionOk="0">
                        <a:moveTo>
                          <a:pt x="0" y="0"/>
                        </a:moveTo>
                        <a:cubicBezTo>
                          <a:pt x="142435" y="-24533"/>
                          <a:pt x="380026" y="17447"/>
                          <a:pt x="596966" y="0"/>
                        </a:cubicBezTo>
                        <a:cubicBezTo>
                          <a:pt x="813906" y="-17447"/>
                          <a:pt x="830530" y="13462"/>
                          <a:pt x="1031123" y="0"/>
                        </a:cubicBezTo>
                        <a:cubicBezTo>
                          <a:pt x="1231716" y="-13462"/>
                          <a:pt x="1634038" y="0"/>
                          <a:pt x="1872303" y="0"/>
                        </a:cubicBezTo>
                        <a:cubicBezTo>
                          <a:pt x="2110568" y="0"/>
                          <a:pt x="2261934" y="-25727"/>
                          <a:pt x="2469269" y="0"/>
                        </a:cubicBezTo>
                        <a:cubicBezTo>
                          <a:pt x="2676604" y="25727"/>
                          <a:pt x="2790440" y="16284"/>
                          <a:pt x="3066235" y="0"/>
                        </a:cubicBezTo>
                        <a:cubicBezTo>
                          <a:pt x="3342030" y="-16284"/>
                          <a:pt x="3685603" y="41976"/>
                          <a:pt x="3907414" y="0"/>
                        </a:cubicBezTo>
                        <a:cubicBezTo>
                          <a:pt x="4129225" y="-41976"/>
                          <a:pt x="4177416" y="-7598"/>
                          <a:pt x="4422976" y="0"/>
                        </a:cubicBezTo>
                        <a:cubicBezTo>
                          <a:pt x="4668536" y="7598"/>
                          <a:pt x="5023499" y="-28058"/>
                          <a:pt x="5264155" y="0"/>
                        </a:cubicBezTo>
                        <a:cubicBezTo>
                          <a:pt x="5504811" y="28058"/>
                          <a:pt x="5703675" y="13288"/>
                          <a:pt x="6105335" y="0"/>
                        </a:cubicBezTo>
                        <a:cubicBezTo>
                          <a:pt x="6506995" y="-13288"/>
                          <a:pt x="6455516" y="-5124"/>
                          <a:pt x="6783705" y="0"/>
                        </a:cubicBezTo>
                        <a:cubicBezTo>
                          <a:pt x="7111894" y="5124"/>
                          <a:pt x="7512856" y="10604"/>
                          <a:pt x="8140446" y="0"/>
                        </a:cubicBezTo>
                        <a:cubicBezTo>
                          <a:pt x="8139772" y="5682"/>
                          <a:pt x="8139843" y="9439"/>
                          <a:pt x="8140446" y="13716"/>
                        </a:cubicBezTo>
                        <a:cubicBezTo>
                          <a:pt x="7959314" y="-1227"/>
                          <a:pt x="7870113" y="5865"/>
                          <a:pt x="7706289" y="13716"/>
                        </a:cubicBezTo>
                        <a:cubicBezTo>
                          <a:pt x="7542465" y="21567"/>
                          <a:pt x="7157940" y="12910"/>
                          <a:pt x="6865109" y="13716"/>
                        </a:cubicBezTo>
                        <a:cubicBezTo>
                          <a:pt x="6572278" y="14522"/>
                          <a:pt x="6524256" y="33479"/>
                          <a:pt x="6349548" y="13716"/>
                        </a:cubicBezTo>
                        <a:cubicBezTo>
                          <a:pt x="6174840" y="-6047"/>
                          <a:pt x="5951624" y="-4398"/>
                          <a:pt x="5671177" y="13716"/>
                        </a:cubicBezTo>
                        <a:cubicBezTo>
                          <a:pt x="5390730" y="31830"/>
                          <a:pt x="5222992" y="55486"/>
                          <a:pt x="4829998" y="13716"/>
                        </a:cubicBezTo>
                        <a:cubicBezTo>
                          <a:pt x="4437004" y="-28054"/>
                          <a:pt x="4344181" y="34515"/>
                          <a:pt x="4151627" y="13716"/>
                        </a:cubicBezTo>
                        <a:cubicBezTo>
                          <a:pt x="3959073" y="-7083"/>
                          <a:pt x="3886970" y="28303"/>
                          <a:pt x="3717470" y="13716"/>
                        </a:cubicBezTo>
                        <a:cubicBezTo>
                          <a:pt x="3547970" y="-871"/>
                          <a:pt x="3451521" y="27300"/>
                          <a:pt x="3201909" y="13716"/>
                        </a:cubicBezTo>
                        <a:cubicBezTo>
                          <a:pt x="2952297" y="132"/>
                          <a:pt x="2543413" y="1457"/>
                          <a:pt x="2360729" y="13716"/>
                        </a:cubicBezTo>
                        <a:cubicBezTo>
                          <a:pt x="2178045" y="25975"/>
                          <a:pt x="1906056" y="21275"/>
                          <a:pt x="1682359" y="13716"/>
                        </a:cubicBezTo>
                        <a:cubicBezTo>
                          <a:pt x="1458662" y="6158"/>
                          <a:pt x="1330405" y="3474"/>
                          <a:pt x="1166797" y="13716"/>
                        </a:cubicBezTo>
                        <a:cubicBezTo>
                          <a:pt x="1003189" y="23958"/>
                          <a:pt x="278098" y="14961"/>
                          <a:pt x="0" y="13716"/>
                        </a:cubicBezTo>
                        <a:cubicBezTo>
                          <a:pt x="303" y="7982"/>
                          <a:pt x="182" y="5202"/>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FC5D7301-250C-E53F-BF61-60E373E897FC}"/>
              </a:ext>
            </a:extLst>
          </p:cNvPr>
          <p:cNvSpPr txBox="1"/>
          <p:nvPr/>
        </p:nvSpPr>
        <p:spPr>
          <a:xfrm>
            <a:off x="628650" y="1447038"/>
            <a:ext cx="7886700" cy="3188970"/>
          </a:xfrm>
          <a:prstGeom prst="rect">
            <a:avLst/>
          </a:prstGeom>
        </p:spPr>
        <p:txBody>
          <a:bodyPr vert="horz" lIns="91440" tIns="45720" rIns="91440" bIns="45720" rtlCol="0">
            <a:normAutofit/>
          </a:bodyPr>
          <a:lstStyle/>
          <a:p>
            <a:pPr lvl="0" defTabSz="914400">
              <a:lnSpc>
                <a:spcPct val="90000"/>
              </a:lnSpc>
              <a:spcAft>
                <a:spcPts val="600"/>
              </a:spcAft>
            </a:pPr>
            <a:r>
              <a:rPr lang="en-US" sz="1700" i="1" dirty="0">
                <a:solidFill>
                  <a:schemeClr val="accent5">
                    <a:lumMod val="50000"/>
                  </a:schemeClr>
                </a:solidFill>
              </a:rPr>
              <a:t>Capital Markets activity is any type of external funding required to operate an equipment leasing company.</a:t>
            </a:r>
          </a:p>
          <a:p>
            <a:pPr lvl="0" indent="-228600" defTabSz="914400">
              <a:lnSpc>
                <a:spcPct val="90000"/>
              </a:lnSpc>
              <a:spcAft>
                <a:spcPts val="600"/>
              </a:spcAft>
              <a:buFont typeface="Arial" panose="020B0604020202020204" pitchFamily="34" charset="0"/>
              <a:buChar char="•"/>
            </a:pPr>
            <a:endParaRPr lang="en-US" sz="1700" i="1" dirty="0"/>
          </a:p>
        </p:txBody>
      </p:sp>
      <p:grpSp>
        <p:nvGrpSpPr>
          <p:cNvPr id="22" name="Group 21">
            <a:extLst>
              <a:ext uri="{FF2B5EF4-FFF2-40B4-BE49-F238E27FC236}">
                <a16:creationId xmlns:a16="http://schemas.microsoft.com/office/drawing/2014/main" id="{DB50EFBC-8AD4-20ED-FB4E-EB88777C9EE8}"/>
              </a:ext>
            </a:extLst>
          </p:cNvPr>
          <p:cNvGrpSpPr/>
          <p:nvPr/>
        </p:nvGrpSpPr>
        <p:grpSpPr>
          <a:xfrm>
            <a:off x="1018956" y="2252202"/>
            <a:ext cx="6975976" cy="2697062"/>
            <a:chOff x="817243" y="802958"/>
            <a:chExt cx="7858129" cy="3643630"/>
          </a:xfrm>
        </p:grpSpPr>
        <p:sp>
          <p:nvSpPr>
            <p:cNvPr id="23" name="Rectangle 22">
              <a:extLst>
                <a:ext uri="{FF2B5EF4-FFF2-40B4-BE49-F238E27FC236}">
                  <a16:creationId xmlns:a16="http://schemas.microsoft.com/office/drawing/2014/main" id="{B2C584EE-4FB8-3B05-3799-46C435974B4F}"/>
                </a:ext>
              </a:extLst>
            </p:cNvPr>
            <p:cNvSpPr/>
            <p:nvPr/>
          </p:nvSpPr>
          <p:spPr>
            <a:xfrm>
              <a:off x="817244" y="802958"/>
              <a:ext cx="7858126" cy="3643630"/>
            </a:xfrm>
            <a:prstGeom prst="rect">
              <a:avLst/>
            </a:prstGeom>
            <a:noFill/>
          </p:spPr>
        </p:sp>
        <p:sp>
          <p:nvSpPr>
            <p:cNvPr id="24" name="Freeform: Shape 23">
              <a:extLst>
                <a:ext uri="{FF2B5EF4-FFF2-40B4-BE49-F238E27FC236}">
                  <a16:creationId xmlns:a16="http://schemas.microsoft.com/office/drawing/2014/main" id="{A141B127-4BBE-D02D-0D27-C28FBA882E38}"/>
                </a:ext>
              </a:extLst>
            </p:cNvPr>
            <p:cNvSpPr/>
            <p:nvPr/>
          </p:nvSpPr>
          <p:spPr>
            <a:xfrm rot="21600000">
              <a:off x="817243" y="803091"/>
              <a:ext cx="7858129" cy="1012886"/>
            </a:xfrm>
            <a:custGeom>
              <a:avLst/>
              <a:gdLst>
                <a:gd name="connsiteX0" fmla="*/ 0 w 7858129"/>
                <a:gd name="connsiteY0" fmla="*/ 0 h 1012884"/>
                <a:gd name="connsiteX1" fmla="*/ 7351687 w 7858129"/>
                <a:gd name="connsiteY1" fmla="*/ 0 h 1012884"/>
                <a:gd name="connsiteX2" fmla="*/ 7858129 w 7858129"/>
                <a:gd name="connsiteY2" fmla="*/ 506442 h 1012884"/>
                <a:gd name="connsiteX3" fmla="*/ 7351687 w 7858129"/>
                <a:gd name="connsiteY3" fmla="*/ 1012884 h 1012884"/>
                <a:gd name="connsiteX4" fmla="*/ 0 w 7858129"/>
                <a:gd name="connsiteY4" fmla="*/ 1012884 h 1012884"/>
                <a:gd name="connsiteX5" fmla="*/ 0 w 7858129"/>
                <a:gd name="connsiteY5" fmla="*/ 0 h 101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8129" h="1012884">
                  <a:moveTo>
                    <a:pt x="7858129" y="1012883"/>
                  </a:moveTo>
                  <a:lnTo>
                    <a:pt x="506442" y="1012883"/>
                  </a:lnTo>
                  <a:lnTo>
                    <a:pt x="0" y="506442"/>
                  </a:lnTo>
                  <a:lnTo>
                    <a:pt x="506442" y="1"/>
                  </a:lnTo>
                  <a:lnTo>
                    <a:pt x="7858129" y="1"/>
                  </a:lnTo>
                  <a:lnTo>
                    <a:pt x="7858129" y="1012883"/>
                  </a:lnTo>
                  <a:close/>
                </a:path>
              </a:pathLst>
            </a:custGeom>
            <a:solidFill>
              <a:schemeClr val="accent1">
                <a:lumMod val="75000"/>
              </a:schemeClr>
            </a:solidFill>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699875" tIns="68581" rIns="128016" bIns="68581" numCol="1" spcCol="1270" anchor="ctr" anchorCtr="0">
              <a:noAutofit/>
            </a:bodyPr>
            <a:lstStyle/>
            <a:p>
              <a:pPr marL="0" lvl="0" indent="0" algn="ctr" defTabSz="800100">
                <a:lnSpc>
                  <a:spcPct val="90000"/>
                </a:lnSpc>
                <a:spcBef>
                  <a:spcPct val="0"/>
                </a:spcBef>
                <a:spcAft>
                  <a:spcPct val="35000"/>
                </a:spcAft>
                <a:buNone/>
              </a:pPr>
              <a:r>
                <a:rPr lang="en-US" b="1" dirty="0">
                  <a:latin typeface="Arial" panose="020B0604020202020204" pitchFamily="34" charset="0"/>
                  <a:cs typeface="Arial" panose="020B0604020202020204" pitchFamily="34" charset="0"/>
                </a:rPr>
                <a:t>Equipment-Backed Securitizations</a:t>
              </a:r>
              <a:endParaRPr lang="en-US" sz="1800" b="1" kern="1200" dirty="0">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id="{4558D7F4-8A9C-FD19-B1B7-039D2AC65602}"/>
                </a:ext>
              </a:extLst>
            </p:cNvPr>
            <p:cNvSpPr/>
            <p:nvPr/>
          </p:nvSpPr>
          <p:spPr>
            <a:xfrm>
              <a:off x="817244" y="803092"/>
              <a:ext cx="1012884" cy="1012884"/>
            </a:xfrm>
            <a:prstGeom prst="ellipse">
              <a:avLst/>
            </a:prstGeom>
            <a:solidFill>
              <a:srgbClr val="002060"/>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algn="ctr"/>
              <a:r>
                <a:rPr lang="en-US" sz="3200" b="1" dirty="0">
                  <a:solidFill>
                    <a:schemeClr val="tx1"/>
                  </a:solidFill>
                </a:rPr>
                <a:t>1</a:t>
              </a:r>
            </a:p>
          </p:txBody>
        </p:sp>
        <p:sp>
          <p:nvSpPr>
            <p:cNvPr id="27" name="Freeform: Shape 26">
              <a:extLst>
                <a:ext uri="{FF2B5EF4-FFF2-40B4-BE49-F238E27FC236}">
                  <a16:creationId xmlns:a16="http://schemas.microsoft.com/office/drawing/2014/main" id="{E2327CD7-F560-A0FD-AE01-419A35AC10A2}"/>
                </a:ext>
              </a:extLst>
            </p:cNvPr>
            <p:cNvSpPr/>
            <p:nvPr/>
          </p:nvSpPr>
          <p:spPr>
            <a:xfrm rot="21600000">
              <a:off x="817243" y="2118329"/>
              <a:ext cx="7858129" cy="1012886"/>
            </a:xfrm>
            <a:custGeom>
              <a:avLst/>
              <a:gdLst>
                <a:gd name="connsiteX0" fmla="*/ 0 w 7858129"/>
                <a:gd name="connsiteY0" fmla="*/ 0 h 1012884"/>
                <a:gd name="connsiteX1" fmla="*/ 7351687 w 7858129"/>
                <a:gd name="connsiteY1" fmla="*/ 0 h 1012884"/>
                <a:gd name="connsiteX2" fmla="*/ 7858129 w 7858129"/>
                <a:gd name="connsiteY2" fmla="*/ 506442 h 1012884"/>
                <a:gd name="connsiteX3" fmla="*/ 7351687 w 7858129"/>
                <a:gd name="connsiteY3" fmla="*/ 1012884 h 1012884"/>
                <a:gd name="connsiteX4" fmla="*/ 0 w 7858129"/>
                <a:gd name="connsiteY4" fmla="*/ 1012884 h 1012884"/>
                <a:gd name="connsiteX5" fmla="*/ 0 w 7858129"/>
                <a:gd name="connsiteY5" fmla="*/ 0 h 101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8129" h="1012884">
                  <a:moveTo>
                    <a:pt x="7858129" y="1012883"/>
                  </a:moveTo>
                  <a:lnTo>
                    <a:pt x="506442" y="1012883"/>
                  </a:lnTo>
                  <a:lnTo>
                    <a:pt x="0" y="506442"/>
                  </a:lnTo>
                  <a:lnTo>
                    <a:pt x="506442" y="1"/>
                  </a:lnTo>
                  <a:lnTo>
                    <a:pt x="7858129" y="1"/>
                  </a:lnTo>
                  <a:lnTo>
                    <a:pt x="7858129" y="1012883"/>
                  </a:lnTo>
                  <a:close/>
                </a:path>
              </a:pathLst>
            </a:custGeom>
            <a:solidFill>
              <a:schemeClr val="accent2">
                <a:lumMod val="75000"/>
              </a:schemeClr>
            </a:solidFill>
          </p:spPr>
          <p:style>
            <a:lnRef idx="2">
              <a:schemeClr val="lt1">
                <a:hueOff val="0"/>
                <a:satOff val="0"/>
                <a:lumOff val="0"/>
                <a:alphaOff val="0"/>
              </a:schemeClr>
            </a:lnRef>
            <a:fillRef idx="1">
              <a:schemeClr val="accent1">
                <a:shade val="80000"/>
                <a:hueOff val="280634"/>
                <a:satOff val="-23314"/>
                <a:lumOff val="18048"/>
                <a:alphaOff val="0"/>
              </a:schemeClr>
            </a:fillRef>
            <a:effectRef idx="0">
              <a:schemeClr val="accent1">
                <a:shade val="80000"/>
                <a:hueOff val="280634"/>
                <a:satOff val="-23314"/>
                <a:lumOff val="18048"/>
                <a:alphaOff val="0"/>
              </a:schemeClr>
            </a:effectRef>
            <a:fontRef idx="minor">
              <a:schemeClr val="lt1"/>
            </a:fontRef>
          </p:style>
          <p:txBody>
            <a:bodyPr spcFirstLastPara="0" vert="horz" wrap="square" lIns="699875" tIns="68581" rIns="128016" bIns="68581" numCol="1" spcCol="1270" anchor="ctr" anchorCtr="0">
              <a:noAutofit/>
            </a:bodyPr>
            <a:lstStyle/>
            <a:p>
              <a:pPr marL="0" lvl="0" indent="0" algn="ctr" defTabSz="800100">
                <a:lnSpc>
                  <a:spcPct val="90000"/>
                </a:lnSpc>
                <a:spcBef>
                  <a:spcPct val="0"/>
                </a:spcBef>
                <a:spcAft>
                  <a:spcPct val="35000"/>
                </a:spcAft>
                <a:buNone/>
              </a:pPr>
              <a:r>
                <a:rPr lang="en-US" sz="1800" b="1" kern="1200" dirty="0">
                  <a:latin typeface="Arial" panose="020B0604020202020204" pitchFamily="34" charset="0"/>
                  <a:cs typeface="Arial" panose="020B0604020202020204" pitchFamily="34" charset="0"/>
                </a:rPr>
                <a:t>Syndications</a:t>
              </a:r>
            </a:p>
          </p:txBody>
        </p:sp>
        <p:sp>
          <p:nvSpPr>
            <p:cNvPr id="29" name="Oval 28">
              <a:extLst>
                <a:ext uri="{FF2B5EF4-FFF2-40B4-BE49-F238E27FC236}">
                  <a16:creationId xmlns:a16="http://schemas.microsoft.com/office/drawing/2014/main" id="{DE9B98E1-2C64-1658-3471-1A06DA22B2E6}"/>
                </a:ext>
              </a:extLst>
            </p:cNvPr>
            <p:cNvSpPr/>
            <p:nvPr/>
          </p:nvSpPr>
          <p:spPr>
            <a:xfrm>
              <a:off x="817244" y="2118330"/>
              <a:ext cx="1012884" cy="1012884"/>
            </a:xfrm>
            <a:prstGeom prst="ellipse">
              <a:avLst/>
            </a:prstGeom>
            <a:solidFill>
              <a:srgbClr val="002060"/>
            </a:solidFill>
          </p:spPr>
          <p:style>
            <a:lnRef idx="2">
              <a:schemeClr val="lt1">
                <a:hueOff val="0"/>
                <a:satOff val="0"/>
                <a:lumOff val="0"/>
                <a:alphaOff val="0"/>
              </a:schemeClr>
            </a:lnRef>
            <a:fillRef idx="1">
              <a:schemeClr val="accent1">
                <a:tint val="50000"/>
                <a:hueOff val="19191"/>
                <a:satOff val="-919"/>
                <a:lumOff val="7145"/>
                <a:alphaOff val="0"/>
              </a:schemeClr>
            </a:fillRef>
            <a:effectRef idx="0">
              <a:schemeClr val="accent1">
                <a:tint val="50000"/>
                <a:hueOff val="19191"/>
                <a:satOff val="-919"/>
                <a:lumOff val="7145"/>
                <a:alphaOff val="0"/>
              </a:schemeClr>
            </a:effectRef>
            <a:fontRef idx="minor">
              <a:schemeClr val="lt1">
                <a:hueOff val="0"/>
                <a:satOff val="0"/>
                <a:lumOff val="0"/>
                <a:alphaOff val="0"/>
              </a:schemeClr>
            </a:fontRef>
          </p:style>
          <p:txBody>
            <a:bodyPr anchor="ctr"/>
            <a:lstStyle/>
            <a:p>
              <a:pPr algn="ctr"/>
              <a:r>
                <a:rPr lang="en-US" sz="3200" b="1" dirty="0">
                  <a:solidFill>
                    <a:schemeClr val="tx2"/>
                  </a:solidFill>
                </a:rPr>
                <a:t>2</a:t>
              </a:r>
            </a:p>
          </p:txBody>
        </p:sp>
        <p:sp>
          <p:nvSpPr>
            <p:cNvPr id="30" name="Freeform: Shape 29">
              <a:extLst>
                <a:ext uri="{FF2B5EF4-FFF2-40B4-BE49-F238E27FC236}">
                  <a16:creationId xmlns:a16="http://schemas.microsoft.com/office/drawing/2014/main" id="{D155B82E-42E6-4C6D-ECEF-C35A6EA3BB01}"/>
                </a:ext>
              </a:extLst>
            </p:cNvPr>
            <p:cNvSpPr/>
            <p:nvPr/>
          </p:nvSpPr>
          <p:spPr>
            <a:xfrm rot="21600000">
              <a:off x="817243" y="3433568"/>
              <a:ext cx="7858129" cy="1012885"/>
            </a:xfrm>
            <a:custGeom>
              <a:avLst/>
              <a:gdLst>
                <a:gd name="connsiteX0" fmla="*/ 0 w 7858129"/>
                <a:gd name="connsiteY0" fmla="*/ 0 h 1012884"/>
                <a:gd name="connsiteX1" fmla="*/ 7351687 w 7858129"/>
                <a:gd name="connsiteY1" fmla="*/ 0 h 1012884"/>
                <a:gd name="connsiteX2" fmla="*/ 7858129 w 7858129"/>
                <a:gd name="connsiteY2" fmla="*/ 506442 h 1012884"/>
                <a:gd name="connsiteX3" fmla="*/ 7351687 w 7858129"/>
                <a:gd name="connsiteY3" fmla="*/ 1012884 h 1012884"/>
                <a:gd name="connsiteX4" fmla="*/ 0 w 7858129"/>
                <a:gd name="connsiteY4" fmla="*/ 1012884 h 1012884"/>
                <a:gd name="connsiteX5" fmla="*/ 0 w 7858129"/>
                <a:gd name="connsiteY5" fmla="*/ 0 h 101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8129" h="1012884">
                  <a:moveTo>
                    <a:pt x="7858129" y="1012883"/>
                  </a:moveTo>
                  <a:lnTo>
                    <a:pt x="506442" y="1012883"/>
                  </a:lnTo>
                  <a:lnTo>
                    <a:pt x="0" y="506442"/>
                  </a:lnTo>
                  <a:lnTo>
                    <a:pt x="506442" y="1"/>
                  </a:lnTo>
                  <a:lnTo>
                    <a:pt x="7858129" y="1"/>
                  </a:lnTo>
                  <a:lnTo>
                    <a:pt x="7858129" y="1012883"/>
                  </a:lnTo>
                  <a:close/>
                </a:path>
              </a:pathLst>
            </a:custGeom>
            <a:solidFill>
              <a:schemeClr val="accent6">
                <a:lumMod val="75000"/>
              </a:schemeClr>
            </a:solidFill>
          </p:spPr>
          <p:style>
            <a:lnRef idx="2">
              <a:schemeClr val="lt1">
                <a:hueOff val="0"/>
                <a:satOff val="0"/>
                <a:lumOff val="0"/>
                <a:alphaOff val="0"/>
              </a:schemeClr>
            </a:lnRef>
            <a:fillRef idx="1">
              <a:schemeClr val="accent1">
                <a:shade val="80000"/>
                <a:hueOff val="561269"/>
                <a:satOff val="-46629"/>
                <a:lumOff val="36096"/>
                <a:alphaOff val="0"/>
              </a:schemeClr>
            </a:fillRef>
            <a:effectRef idx="0">
              <a:schemeClr val="accent1">
                <a:shade val="80000"/>
                <a:hueOff val="561269"/>
                <a:satOff val="-46629"/>
                <a:lumOff val="36096"/>
                <a:alphaOff val="0"/>
              </a:schemeClr>
            </a:effectRef>
            <a:fontRef idx="minor">
              <a:schemeClr val="lt1"/>
            </a:fontRef>
          </p:style>
          <p:txBody>
            <a:bodyPr spcFirstLastPara="0" vert="horz" wrap="square" lIns="699875" tIns="68581" rIns="128016"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latin typeface="Arial" panose="020B0604020202020204" pitchFamily="34" charset="0"/>
                  <a:cs typeface="Arial" panose="020B0604020202020204" pitchFamily="34" charset="0"/>
                </a:rPr>
                <a:t>Portfolio Sales</a:t>
              </a:r>
              <a:endParaRPr lang="en-US" sz="1800" kern="1200" dirty="0">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E7089A78-46C0-92D3-F2B5-34FD206CB996}"/>
                </a:ext>
              </a:extLst>
            </p:cNvPr>
            <p:cNvSpPr/>
            <p:nvPr/>
          </p:nvSpPr>
          <p:spPr>
            <a:xfrm>
              <a:off x="817244" y="3433569"/>
              <a:ext cx="1012884" cy="1012884"/>
            </a:xfrm>
            <a:prstGeom prst="ellipse">
              <a:avLst/>
            </a:prstGeom>
            <a:solidFill>
              <a:srgbClr val="002060"/>
            </a:solidFill>
          </p:spPr>
          <p:style>
            <a:lnRef idx="2">
              <a:schemeClr val="lt1">
                <a:hueOff val="0"/>
                <a:satOff val="0"/>
                <a:lumOff val="0"/>
                <a:alphaOff val="0"/>
              </a:schemeClr>
            </a:lnRef>
            <a:fillRef idx="1">
              <a:schemeClr val="accent1">
                <a:tint val="50000"/>
                <a:hueOff val="38383"/>
                <a:satOff val="-1839"/>
                <a:lumOff val="14289"/>
                <a:alphaOff val="0"/>
              </a:schemeClr>
            </a:fillRef>
            <a:effectRef idx="0">
              <a:schemeClr val="accent1">
                <a:tint val="50000"/>
                <a:hueOff val="38383"/>
                <a:satOff val="-1839"/>
                <a:lumOff val="14289"/>
                <a:alphaOff val="0"/>
              </a:schemeClr>
            </a:effectRef>
            <a:fontRef idx="minor">
              <a:schemeClr val="lt1">
                <a:hueOff val="0"/>
                <a:satOff val="0"/>
                <a:lumOff val="0"/>
                <a:alphaOff val="0"/>
              </a:schemeClr>
            </a:fontRef>
          </p:style>
          <p:txBody>
            <a:bodyPr anchor="ctr"/>
            <a:lstStyle/>
            <a:p>
              <a:pPr algn="ctr"/>
              <a:r>
                <a:rPr lang="en-US" sz="3200" b="1" dirty="0">
                  <a:solidFill>
                    <a:schemeClr val="tx1"/>
                  </a:solidFill>
                </a:rPr>
                <a:t>3</a:t>
              </a:r>
              <a:endParaRPr lang="en-US" dirty="0">
                <a:solidFill>
                  <a:schemeClr val="tx1"/>
                </a:solidFill>
              </a:endParaRPr>
            </a:p>
          </p:txBody>
        </p:sp>
      </p:grpSp>
    </p:spTree>
    <p:extLst>
      <p:ext uri="{BB962C8B-B14F-4D97-AF65-F5344CB8AC3E}">
        <p14:creationId xmlns:p14="http://schemas.microsoft.com/office/powerpoint/2010/main" val="39763148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67C9A86-07DB-7B1B-5488-9F93BF847946}"/>
              </a:ext>
            </a:extLst>
          </p:cNvPr>
          <p:cNvSpPr>
            <a:spLocks noGrp="1"/>
          </p:cNvSpPr>
          <p:nvPr>
            <p:ph idx="1"/>
          </p:nvPr>
        </p:nvSpPr>
        <p:spPr>
          <a:xfrm>
            <a:off x="499819" y="729600"/>
            <a:ext cx="8177262" cy="3901304"/>
          </a:xfrm>
        </p:spPr>
        <p:txBody>
          <a:bodyPr/>
          <a:lstStyle/>
          <a:p>
            <a:pPr marL="0" indent="0">
              <a:buNone/>
            </a:pPr>
            <a:r>
              <a:rPr lang="en-US" sz="1400" b="1" i="0" dirty="0">
                <a:solidFill>
                  <a:schemeClr val="accent5">
                    <a:lumMod val="50000"/>
                  </a:schemeClr>
                </a:solidFill>
                <a:effectLst/>
                <a:latin typeface="arial" panose="020B0604020202020204" pitchFamily="34" charset="0"/>
              </a:rPr>
              <a:t>Securitization is the process in which equipment loans and leases are pooled together so that they can be repackaged into marketable, interest-bearing securities</a:t>
            </a:r>
            <a:r>
              <a:rPr lang="en-US" sz="1400" b="0" i="0" dirty="0">
                <a:solidFill>
                  <a:schemeClr val="accent5">
                    <a:lumMod val="50000"/>
                  </a:schemeClr>
                </a:solidFill>
                <a:effectLst/>
                <a:latin typeface="arial" panose="020B0604020202020204" pitchFamily="34" charset="0"/>
              </a:rPr>
              <a:t>. </a:t>
            </a:r>
          </a:p>
          <a:p>
            <a:pPr marL="0" indent="0">
              <a:buNone/>
            </a:pPr>
            <a:endParaRPr lang="en-US" dirty="0"/>
          </a:p>
        </p:txBody>
      </p:sp>
      <p:sp>
        <p:nvSpPr>
          <p:cNvPr id="3" name="Title 2">
            <a:extLst>
              <a:ext uri="{FF2B5EF4-FFF2-40B4-BE49-F238E27FC236}">
                <a16:creationId xmlns:a16="http://schemas.microsoft.com/office/drawing/2014/main" id="{33AC3F93-EFB6-2037-710B-8BFF988A944E}"/>
              </a:ext>
            </a:extLst>
          </p:cNvPr>
          <p:cNvSpPr>
            <a:spLocks noGrp="1"/>
          </p:cNvSpPr>
          <p:nvPr>
            <p:ph type="title"/>
          </p:nvPr>
        </p:nvSpPr>
        <p:spPr>
          <a:xfrm>
            <a:off x="559473" y="-81320"/>
            <a:ext cx="7886700" cy="994172"/>
          </a:xfrm>
        </p:spPr>
        <p:txBody>
          <a:bodyPr/>
          <a:lstStyle/>
          <a:p>
            <a:r>
              <a:rPr lang="en-US" dirty="0">
                <a:solidFill>
                  <a:schemeClr val="accent5">
                    <a:lumMod val="50000"/>
                  </a:schemeClr>
                </a:solidFill>
              </a:rPr>
              <a:t>What’s An Equipment-Backed Securitization?</a:t>
            </a:r>
          </a:p>
        </p:txBody>
      </p:sp>
      <p:grpSp>
        <p:nvGrpSpPr>
          <p:cNvPr id="28" name="Group 27">
            <a:extLst>
              <a:ext uri="{FF2B5EF4-FFF2-40B4-BE49-F238E27FC236}">
                <a16:creationId xmlns:a16="http://schemas.microsoft.com/office/drawing/2014/main" id="{960AC87F-7090-99E2-052F-CCC774418837}"/>
              </a:ext>
            </a:extLst>
          </p:cNvPr>
          <p:cNvGrpSpPr/>
          <p:nvPr/>
        </p:nvGrpSpPr>
        <p:grpSpPr>
          <a:xfrm>
            <a:off x="351444" y="1273717"/>
            <a:ext cx="8292735" cy="3718053"/>
            <a:chOff x="489998" y="1166260"/>
            <a:chExt cx="8153360" cy="4088718"/>
          </a:xfrm>
        </p:grpSpPr>
        <p:grpSp>
          <p:nvGrpSpPr>
            <p:cNvPr id="14" name="Group 13">
              <a:extLst>
                <a:ext uri="{FF2B5EF4-FFF2-40B4-BE49-F238E27FC236}">
                  <a16:creationId xmlns:a16="http://schemas.microsoft.com/office/drawing/2014/main" id="{485E3119-C914-DB2D-F0CF-32C715E66474}"/>
                </a:ext>
              </a:extLst>
            </p:cNvPr>
            <p:cNvGrpSpPr/>
            <p:nvPr/>
          </p:nvGrpSpPr>
          <p:grpSpPr>
            <a:xfrm>
              <a:off x="489998" y="1166260"/>
              <a:ext cx="8153360" cy="4088718"/>
              <a:chOff x="489998" y="1106824"/>
              <a:chExt cx="8153360" cy="4088718"/>
            </a:xfrm>
          </p:grpSpPr>
          <p:sp>
            <p:nvSpPr>
              <p:cNvPr id="4" name="Shape 3152">
                <a:extLst>
                  <a:ext uri="{FF2B5EF4-FFF2-40B4-BE49-F238E27FC236}">
                    <a16:creationId xmlns:a16="http://schemas.microsoft.com/office/drawing/2014/main" id="{C59FEB51-4B73-50CE-218B-C0990705DB44}"/>
                  </a:ext>
                </a:extLst>
              </p:cNvPr>
              <p:cNvSpPr/>
              <p:nvPr/>
            </p:nvSpPr>
            <p:spPr>
              <a:xfrm>
                <a:off x="6410593" y="1106824"/>
                <a:ext cx="2179680" cy="1709451"/>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5"/>
              </a:solidFill>
              <a:ln/>
              <a:effectLst/>
            </p:spPr>
            <p:style>
              <a:lnRef idx="0">
                <a:schemeClr val="accent5"/>
              </a:lnRef>
              <a:fillRef idx="3">
                <a:schemeClr val="accent5"/>
              </a:fillRef>
              <a:effectRef idx="3">
                <a:schemeClr val="accent5"/>
              </a:effectRef>
              <a:fontRef idx="minor">
                <a:schemeClr val="lt1"/>
              </a:fontRef>
            </p:style>
            <p:txBody>
              <a:bodyPr lIns="45694" tIns="22841" rIns="45694" bIns="22841" anchor="t" anchorCtr="0">
                <a:noAutofit/>
              </a:bodyPr>
              <a:lstStyle/>
              <a:p>
                <a:pPr algn="just">
                  <a:buClr>
                    <a:srgbClr val="000000"/>
                  </a:buClr>
                </a:pPr>
                <a:endParaRPr sz="900" dirty="0">
                  <a:solidFill>
                    <a:schemeClr val="dk1"/>
                  </a:solidFill>
                  <a:latin typeface="Arial" panose="020B0604020202020204" pitchFamily="34" charset="0"/>
                  <a:ea typeface="Lato Light" panose="020F0502020204030203" pitchFamily="34" charset="0"/>
                  <a:cs typeface="Arial" panose="020B0604020202020204" pitchFamily="34" charset="0"/>
                  <a:sym typeface="Arial"/>
                </a:endParaRPr>
              </a:p>
            </p:txBody>
          </p:sp>
          <p:sp>
            <p:nvSpPr>
              <p:cNvPr id="5" name="Shape 3156">
                <a:extLst>
                  <a:ext uri="{FF2B5EF4-FFF2-40B4-BE49-F238E27FC236}">
                    <a16:creationId xmlns:a16="http://schemas.microsoft.com/office/drawing/2014/main" id="{A3DC633E-239A-D8BE-8F65-6D373A3DDE47}"/>
                  </a:ext>
                </a:extLst>
              </p:cNvPr>
              <p:cNvSpPr/>
              <p:nvPr/>
            </p:nvSpPr>
            <p:spPr>
              <a:xfrm>
                <a:off x="4901120" y="1106824"/>
                <a:ext cx="2179680" cy="1709451"/>
              </a:xfrm>
              <a:custGeom>
                <a:avLst/>
                <a:gdLst/>
                <a:ahLst/>
                <a:cxnLst/>
                <a:rect l="0" t="0" r="0" b="0"/>
                <a:pathLst>
                  <a:path w="120000" h="120000" extrusionOk="0">
                    <a:moveTo>
                      <a:pt x="114578" y="71489"/>
                    </a:moveTo>
                    <a:cubicBezTo>
                      <a:pt x="119999" y="65106"/>
                      <a:pt x="119999" y="54893"/>
                      <a:pt x="114578" y="48510"/>
                    </a:cubicBezTo>
                    <a:cubicBezTo>
                      <a:pt x="79156" y="6382"/>
                      <a:pt x="79156" y="6382"/>
                      <a:pt x="79156" y="6382"/>
                    </a:cubicBezTo>
                    <a:cubicBezTo>
                      <a:pt x="73734" y="0"/>
                      <a:pt x="69036" y="2127"/>
                      <a:pt x="69036" y="11063"/>
                    </a:cubicBezTo>
                    <a:cubicBezTo>
                      <a:pt x="69036" y="11063"/>
                      <a:pt x="69036" y="11063"/>
                      <a:pt x="69036" y="11063"/>
                    </a:cubicBezTo>
                    <a:cubicBezTo>
                      <a:pt x="69036"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734" y="120000"/>
                      <a:pt x="79156" y="113617"/>
                    </a:cubicBezTo>
                    <a:lnTo>
                      <a:pt x="114578" y="71489"/>
                    </a:lnTo>
                    <a:close/>
                  </a:path>
                </a:pathLst>
              </a:custGeom>
              <a:solidFill>
                <a:schemeClr val="accent4"/>
              </a:solidFill>
              <a:ln/>
              <a:effectLst/>
            </p:spPr>
            <p:style>
              <a:lnRef idx="0">
                <a:schemeClr val="accent4"/>
              </a:lnRef>
              <a:fillRef idx="3">
                <a:schemeClr val="accent4"/>
              </a:fillRef>
              <a:effectRef idx="3">
                <a:schemeClr val="accent4"/>
              </a:effectRef>
              <a:fontRef idx="minor">
                <a:schemeClr val="lt1"/>
              </a:fontRef>
            </p:style>
            <p:txBody>
              <a:bodyPr lIns="45694" tIns="22841" rIns="45694" bIns="22841" anchor="t" anchorCtr="0">
                <a:noAutofit/>
              </a:bodyPr>
              <a:lstStyle/>
              <a:p>
                <a:pPr algn="just">
                  <a:buClr>
                    <a:srgbClr val="000000"/>
                  </a:buClr>
                </a:pPr>
                <a:endParaRPr sz="900" dirty="0">
                  <a:solidFill>
                    <a:schemeClr val="dk1"/>
                  </a:solidFill>
                  <a:latin typeface="Arial" panose="020B0604020202020204" pitchFamily="34" charset="0"/>
                  <a:ea typeface="Lato Light" panose="020F0502020204030203" pitchFamily="34" charset="0"/>
                  <a:cs typeface="Arial" panose="020B0604020202020204" pitchFamily="34" charset="0"/>
                  <a:sym typeface="Arial"/>
                </a:endParaRPr>
              </a:p>
            </p:txBody>
          </p:sp>
          <p:sp>
            <p:nvSpPr>
              <p:cNvPr id="6" name="Shape 3160">
                <a:extLst>
                  <a:ext uri="{FF2B5EF4-FFF2-40B4-BE49-F238E27FC236}">
                    <a16:creationId xmlns:a16="http://schemas.microsoft.com/office/drawing/2014/main" id="{366F7539-DD7D-6050-6420-33B3FCF46CF3}"/>
                  </a:ext>
                </a:extLst>
              </p:cNvPr>
              <p:cNvSpPr/>
              <p:nvPr/>
            </p:nvSpPr>
            <p:spPr>
              <a:xfrm>
                <a:off x="3397684" y="1106824"/>
                <a:ext cx="2179680" cy="1709451"/>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3"/>
              </a:solidFill>
              <a:ln/>
              <a:effectLst/>
            </p:spPr>
            <p:style>
              <a:lnRef idx="0">
                <a:schemeClr val="accent3"/>
              </a:lnRef>
              <a:fillRef idx="3">
                <a:schemeClr val="accent3"/>
              </a:fillRef>
              <a:effectRef idx="3">
                <a:schemeClr val="accent3"/>
              </a:effectRef>
              <a:fontRef idx="minor">
                <a:schemeClr val="lt1"/>
              </a:fontRef>
            </p:style>
            <p:txBody>
              <a:bodyPr lIns="45694" tIns="22841" rIns="45694" bIns="22841" anchor="t" anchorCtr="0">
                <a:noAutofit/>
              </a:bodyPr>
              <a:lstStyle/>
              <a:p>
                <a:pPr algn="just">
                  <a:buClr>
                    <a:srgbClr val="000000"/>
                  </a:buClr>
                </a:pPr>
                <a:endParaRPr sz="900" dirty="0">
                  <a:solidFill>
                    <a:schemeClr val="dk1"/>
                  </a:solidFill>
                  <a:latin typeface="Arial" panose="020B0604020202020204" pitchFamily="34" charset="0"/>
                  <a:ea typeface="Lato Light" panose="020F0502020204030203" pitchFamily="34" charset="0"/>
                  <a:cs typeface="Arial" panose="020B0604020202020204" pitchFamily="34" charset="0"/>
                  <a:sym typeface="Arial"/>
                </a:endParaRPr>
              </a:p>
            </p:txBody>
          </p:sp>
          <p:sp>
            <p:nvSpPr>
              <p:cNvPr id="7" name="Shape 3164">
                <a:extLst>
                  <a:ext uri="{FF2B5EF4-FFF2-40B4-BE49-F238E27FC236}">
                    <a16:creationId xmlns:a16="http://schemas.microsoft.com/office/drawing/2014/main" id="{9C012295-716A-E0B9-919D-36DC2CA20337}"/>
                  </a:ext>
                </a:extLst>
              </p:cNvPr>
              <p:cNvSpPr/>
              <p:nvPr/>
            </p:nvSpPr>
            <p:spPr>
              <a:xfrm>
                <a:off x="1887001" y="1109344"/>
                <a:ext cx="2179680" cy="1709451"/>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chemeClr val="accent2"/>
              </a:solidFill>
              <a:ln/>
              <a:effectLst/>
            </p:spPr>
            <p:style>
              <a:lnRef idx="0">
                <a:schemeClr val="accent2"/>
              </a:lnRef>
              <a:fillRef idx="3">
                <a:schemeClr val="accent2"/>
              </a:fillRef>
              <a:effectRef idx="3">
                <a:schemeClr val="accent2"/>
              </a:effectRef>
              <a:fontRef idx="minor">
                <a:schemeClr val="lt1"/>
              </a:fontRef>
            </p:style>
            <p:txBody>
              <a:bodyPr lIns="45694" tIns="22841" rIns="45694" bIns="22841" anchor="t" anchorCtr="0">
                <a:noAutofit/>
              </a:bodyPr>
              <a:lstStyle/>
              <a:p>
                <a:pPr algn="just">
                  <a:buClr>
                    <a:srgbClr val="000000"/>
                  </a:buClr>
                </a:pPr>
                <a:endParaRPr sz="900" dirty="0">
                  <a:solidFill>
                    <a:schemeClr val="dk1"/>
                  </a:solidFill>
                  <a:latin typeface="Arial" panose="020B0604020202020204" pitchFamily="34" charset="0"/>
                  <a:ea typeface="Lato Light" panose="020F0502020204030203" pitchFamily="34" charset="0"/>
                  <a:cs typeface="Arial" panose="020B0604020202020204" pitchFamily="34" charset="0"/>
                  <a:sym typeface="Arial"/>
                </a:endParaRPr>
              </a:p>
            </p:txBody>
          </p:sp>
          <p:sp>
            <p:nvSpPr>
              <p:cNvPr id="8" name="Shape 3167">
                <a:extLst>
                  <a:ext uri="{FF2B5EF4-FFF2-40B4-BE49-F238E27FC236}">
                    <a16:creationId xmlns:a16="http://schemas.microsoft.com/office/drawing/2014/main" id="{6815A719-D1EA-6A15-9704-98D5E2A5A7F3}"/>
                  </a:ext>
                </a:extLst>
              </p:cNvPr>
              <p:cNvSpPr>
                <a:spLocks/>
              </p:cNvSpPr>
              <p:nvPr/>
            </p:nvSpPr>
            <p:spPr>
              <a:xfrm>
                <a:off x="489998" y="1106825"/>
                <a:ext cx="1977870" cy="1709451"/>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chemeClr val="accent1"/>
              </a:solidFill>
              <a:ln/>
              <a:effectLst/>
            </p:spPr>
            <p:style>
              <a:lnRef idx="0">
                <a:schemeClr val="accent1"/>
              </a:lnRef>
              <a:fillRef idx="3">
                <a:schemeClr val="accent1"/>
              </a:fillRef>
              <a:effectRef idx="3">
                <a:schemeClr val="accent1"/>
              </a:effectRef>
              <a:fontRef idx="minor">
                <a:schemeClr val="lt1"/>
              </a:fontRef>
            </p:style>
            <p:txBody>
              <a:bodyPr lIns="45694" tIns="22841" rIns="45694" bIns="22841" anchor="t" anchorCtr="0">
                <a:noAutofit/>
              </a:bodyPr>
              <a:lstStyle/>
              <a:p>
                <a:pPr algn="just">
                  <a:buClr>
                    <a:srgbClr val="000000"/>
                  </a:buClr>
                </a:pPr>
                <a:endParaRPr sz="900" dirty="0">
                  <a:solidFill>
                    <a:schemeClr val="dk1"/>
                  </a:solidFill>
                  <a:latin typeface="Arial" panose="020B0604020202020204" pitchFamily="34" charset="0"/>
                  <a:ea typeface="Lato Light" panose="020F0502020204030203" pitchFamily="34" charset="0"/>
                  <a:cs typeface="Arial" panose="020B0604020202020204" pitchFamily="34" charset="0"/>
                  <a:sym typeface="Arial"/>
                </a:endParaRPr>
              </a:p>
            </p:txBody>
          </p:sp>
          <p:sp>
            <p:nvSpPr>
              <p:cNvPr id="9" name="Subtitle 2">
                <a:extLst>
                  <a:ext uri="{FF2B5EF4-FFF2-40B4-BE49-F238E27FC236}">
                    <a16:creationId xmlns:a16="http://schemas.microsoft.com/office/drawing/2014/main" id="{A5AE5383-A361-7531-07F6-4DF694081667}"/>
                  </a:ext>
                </a:extLst>
              </p:cNvPr>
              <p:cNvSpPr txBox="1">
                <a:spLocks/>
              </p:cNvSpPr>
              <p:nvPr/>
            </p:nvSpPr>
            <p:spPr>
              <a:xfrm>
                <a:off x="489998" y="2875990"/>
                <a:ext cx="1969739" cy="2319552"/>
              </a:xfrm>
              <a:prstGeom prst="rect">
                <a:avLst/>
              </a:prstGeom>
            </p:spPr>
            <p:txBody>
              <a:bodyPr vert="horz" wrap="square" lIns="81559" tIns="40779" rIns="81559" bIns="4077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US" sz="1200" dirty="0">
                    <a:solidFill>
                      <a:schemeClr val="accent5">
                        <a:lumMod val="50000"/>
                      </a:schemeClr>
                    </a:solidFill>
                    <a:latin typeface="Arial" panose="020B0604020202020204" pitchFamily="34" charset="0"/>
                    <a:cs typeface="Arial" panose="020B0604020202020204" pitchFamily="34" charset="0"/>
                  </a:rPr>
                  <a:t>The equipment finance firm that originates the equipment loans and leases “pools” together several individual loans and leases with diverse characteristics in terms of geography, underlying equipment type, customer concentrations and industry concentrations.</a:t>
                </a:r>
                <a:endParaRPr lang="en-US" sz="1200" dirty="0">
                  <a:solidFill>
                    <a:schemeClr val="accent5">
                      <a:lumMod val="50000"/>
                    </a:schemeClr>
                  </a:solidFill>
                  <a:latin typeface="Arial" panose="020B0604020202020204" pitchFamily="34" charset="0"/>
                  <a:ea typeface="Lato Light" panose="020F0502020204030203" pitchFamily="34" charset="0"/>
                  <a:cs typeface="Arial" panose="020B0604020202020204" pitchFamily="34" charset="0"/>
                </a:endParaRPr>
              </a:p>
            </p:txBody>
          </p:sp>
          <p:sp>
            <p:nvSpPr>
              <p:cNvPr id="10" name="Subtitle 2">
                <a:extLst>
                  <a:ext uri="{FF2B5EF4-FFF2-40B4-BE49-F238E27FC236}">
                    <a16:creationId xmlns:a16="http://schemas.microsoft.com/office/drawing/2014/main" id="{1C79EBDB-012B-578E-6A6A-AA73E5D8316C}"/>
                  </a:ext>
                </a:extLst>
              </p:cNvPr>
              <p:cNvSpPr txBox="1">
                <a:spLocks/>
              </p:cNvSpPr>
              <p:nvPr/>
            </p:nvSpPr>
            <p:spPr>
              <a:xfrm>
                <a:off x="2427527" y="3077508"/>
                <a:ext cx="1639155" cy="1679987"/>
              </a:xfrm>
              <a:prstGeom prst="rect">
                <a:avLst/>
              </a:prstGeom>
            </p:spPr>
            <p:txBody>
              <a:bodyPr vert="horz" wrap="square" lIns="81559" tIns="40779" rIns="81559" bIns="4077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US" sz="1200" b="0" i="0" dirty="0">
                    <a:solidFill>
                      <a:schemeClr val="accent5">
                        <a:lumMod val="50000"/>
                      </a:schemeClr>
                    </a:solidFill>
                    <a:effectLst/>
                    <a:latin typeface="Arial" panose="020B0604020202020204" pitchFamily="34" charset="0"/>
                    <a:cs typeface="Arial" panose="020B0604020202020204" pitchFamily="34" charset="0"/>
                  </a:rPr>
                  <a:t>The interest and principal payments from the underlying equipment loans and leases are passed through to the bondholder.</a:t>
                </a:r>
              </a:p>
              <a:p>
                <a:pPr>
                  <a:lnSpc>
                    <a:spcPts val="1388"/>
                  </a:lnSpc>
                </a:pPr>
                <a:endParaRPr lang="en-US" sz="900" dirty="0">
                  <a:solidFill>
                    <a:srgbClr val="000000"/>
                  </a:solidFill>
                  <a:latin typeface="Arial" panose="020B0604020202020204" pitchFamily="34" charset="0"/>
                  <a:ea typeface="Lato Light" panose="020F0502020204030203" pitchFamily="34" charset="0"/>
                  <a:cs typeface="Arial" panose="020B0604020202020204" pitchFamily="34" charset="0"/>
                </a:endParaRPr>
              </a:p>
            </p:txBody>
          </p:sp>
          <p:sp>
            <p:nvSpPr>
              <p:cNvPr id="11" name="Subtitle 2">
                <a:extLst>
                  <a:ext uri="{FF2B5EF4-FFF2-40B4-BE49-F238E27FC236}">
                    <a16:creationId xmlns:a16="http://schemas.microsoft.com/office/drawing/2014/main" id="{85F95560-7B6D-4751-820F-B556E2C5108B}"/>
                  </a:ext>
                </a:extLst>
              </p:cNvPr>
              <p:cNvSpPr txBox="1">
                <a:spLocks/>
              </p:cNvSpPr>
              <p:nvPr/>
            </p:nvSpPr>
            <p:spPr>
              <a:xfrm>
                <a:off x="3987458" y="3070829"/>
                <a:ext cx="1517299" cy="2110380"/>
              </a:xfrm>
              <a:prstGeom prst="rect">
                <a:avLst/>
              </a:prstGeom>
            </p:spPr>
            <p:txBody>
              <a:bodyPr vert="horz" wrap="square" lIns="81559" tIns="40779" rIns="81559" bIns="4077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US" sz="1200" dirty="0">
                    <a:solidFill>
                      <a:schemeClr val="accent5">
                        <a:lumMod val="50000"/>
                      </a:schemeClr>
                    </a:solidFill>
                    <a:latin typeface="Arial" panose="020B0604020202020204" pitchFamily="34" charset="0"/>
                    <a:cs typeface="Arial" panose="020B0604020202020204" pitchFamily="34" charset="0"/>
                  </a:rPr>
                  <a:t>Bondholders are protected by different types of credit enhancement such as the originating equipment finance firm absorbing a first loss position.</a:t>
                </a:r>
              </a:p>
              <a:p>
                <a:pPr>
                  <a:lnSpc>
                    <a:spcPts val="1388"/>
                  </a:lnSpc>
                </a:pPr>
                <a:endParaRPr lang="en-US" sz="900" dirty="0">
                  <a:solidFill>
                    <a:srgbClr val="000000"/>
                  </a:solidFill>
                  <a:latin typeface="Arial" panose="020B0604020202020204" pitchFamily="34" charset="0"/>
                  <a:ea typeface="Lato Light" panose="020F0502020204030203" pitchFamily="34" charset="0"/>
                  <a:cs typeface="Arial" panose="020B0604020202020204" pitchFamily="34" charset="0"/>
                </a:endParaRPr>
              </a:p>
            </p:txBody>
          </p:sp>
          <p:sp>
            <p:nvSpPr>
              <p:cNvPr id="12" name="Subtitle 2">
                <a:extLst>
                  <a:ext uri="{FF2B5EF4-FFF2-40B4-BE49-F238E27FC236}">
                    <a16:creationId xmlns:a16="http://schemas.microsoft.com/office/drawing/2014/main" id="{6C2D8BEA-602F-C791-BE07-A2B44DCB1D52}"/>
                  </a:ext>
                </a:extLst>
              </p:cNvPr>
              <p:cNvSpPr txBox="1">
                <a:spLocks/>
              </p:cNvSpPr>
              <p:nvPr/>
            </p:nvSpPr>
            <p:spPr>
              <a:xfrm>
                <a:off x="5482830" y="3148652"/>
                <a:ext cx="1517299" cy="1285117"/>
              </a:xfrm>
              <a:prstGeom prst="rect">
                <a:avLst/>
              </a:prstGeom>
            </p:spPr>
            <p:txBody>
              <a:bodyPr vert="horz" wrap="square" lIns="81559" tIns="40779" rIns="81559" bIns="4077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US" sz="1200" dirty="0">
                    <a:solidFill>
                      <a:schemeClr val="accent5">
                        <a:lumMod val="50000"/>
                      </a:schemeClr>
                    </a:solidFill>
                    <a:latin typeface="Arial" panose="020B0604020202020204" pitchFamily="34" charset="0"/>
                    <a:cs typeface="Arial" panose="020B0604020202020204" pitchFamily="34" charset="0"/>
                  </a:rPr>
                  <a:t>Bonds can have different classes based on underlying risk </a:t>
                </a:r>
                <a:r>
                  <a:rPr lang="en-US" sz="1200" dirty="0">
                    <a:solidFill>
                      <a:schemeClr val="accent5">
                        <a:lumMod val="50000"/>
                      </a:schemeClr>
                    </a:solidFill>
                    <a:latin typeface="Arial" panose="020B0604020202020204" pitchFamily="34" charset="0"/>
                    <a:cs typeface="Arial" panose="020B0604020202020204" pitchFamily="34" charset="0"/>
                    <a:sym typeface="Wingdings" panose="05000000000000000000" pitchFamily="2" charset="2"/>
                  </a:rPr>
                  <a:t> higher risk means higher rates.</a:t>
                </a:r>
              </a:p>
              <a:p>
                <a:pPr>
                  <a:lnSpc>
                    <a:spcPts val="1388"/>
                  </a:lnSpc>
                </a:pPr>
                <a:endParaRPr lang="en-US" sz="900" dirty="0">
                  <a:solidFill>
                    <a:srgbClr val="000000"/>
                  </a:solidFill>
                  <a:latin typeface="Arial" panose="020B0604020202020204" pitchFamily="34" charset="0"/>
                  <a:ea typeface="Lato Light" panose="020F0502020204030203" pitchFamily="34" charset="0"/>
                  <a:cs typeface="Arial" panose="020B0604020202020204" pitchFamily="34" charset="0"/>
                </a:endParaRPr>
              </a:p>
            </p:txBody>
          </p:sp>
          <p:sp>
            <p:nvSpPr>
              <p:cNvPr id="13" name="Subtitle 2">
                <a:extLst>
                  <a:ext uri="{FF2B5EF4-FFF2-40B4-BE49-F238E27FC236}">
                    <a16:creationId xmlns:a16="http://schemas.microsoft.com/office/drawing/2014/main" id="{225F0873-3354-EEBF-2AF9-0A9C3F430AF3}"/>
                  </a:ext>
                </a:extLst>
              </p:cNvPr>
              <p:cNvSpPr txBox="1">
                <a:spLocks/>
              </p:cNvSpPr>
              <p:nvPr/>
            </p:nvSpPr>
            <p:spPr>
              <a:xfrm>
                <a:off x="7032478" y="2875989"/>
                <a:ext cx="1610880" cy="1482552"/>
              </a:xfrm>
              <a:prstGeom prst="rect">
                <a:avLst/>
              </a:prstGeom>
            </p:spPr>
            <p:txBody>
              <a:bodyPr vert="horz" wrap="square" lIns="81559" tIns="40779" rIns="81559" bIns="4077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US" sz="1200" dirty="0">
                    <a:solidFill>
                      <a:schemeClr val="accent5">
                        <a:lumMod val="50000"/>
                      </a:schemeClr>
                    </a:solidFill>
                    <a:latin typeface="Arial" panose="020B0604020202020204" pitchFamily="34" charset="0"/>
                    <a:cs typeface="Arial" panose="020B0604020202020204" pitchFamily="34" charset="0"/>
                    <a:sym typeface="Wingdings" panose="05000000000000000000" pitchFamily="2" charset="2"/>
                  </a:rPr>
                  <a:t>Often times these bonds are rated b S&amp;P, Moody’s, Fitch and KBRA as ratings are important in attracting investors.</a:t>
                </a:r>
              </a:p>
              <a:p>
                <a:pPr>
                  <a:lnSpc>
                    <a:spcPts val="1388"/>
                  </a:lnSpc>
                </a:pPr>
                <a:endParaRPr lang="en-US" sz="900" dirty="0">
                  <a:solidFill>
                    <a:srgbClr val="000000"/>
                  </a:solidFill>
                  <a:latin typeface="Arial" panose="020B0604020202020204" pitchFamily="34" charset="0"/>
                  <a:ea typeface="Lato Light" panose="020F0502020204030203"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6D7B1AA2-F45B-481D-1BCC-6EB7341EFE49}"/>
                </a:ext>
              </a:extLst>
            </p:cNvPr>
            <p:cNvGrpSpPr/>
            <p:nvPr/>
          </p:nvGrpSpPr>
          <p:grpSpPr>
            <a:xfrm>
              <a:off x="1164133" y="1652381"/>
              <a:ext cx="6962099" cy="856352"/>
              <a:chOff x="1164133" y="1652381"/>
              <a:chExt cx="6962099" cy="856352"/>
            </a:xfrm>
          </p:grpSpPr>
          <p:sp>
            <p:nvSpPr>
              <p:cNvPr id="19" name="Freeform 988">
                <a:extLst>
                  <a:ext uri="{FF2B5EF4-FFF2-40B4-BE49-F238E27FC236}">
                    <a16:creationId xmlns:a16="http://schemas.microsoft.com/office/drawing/2014/main" id="{70B28729-C418-779D-7462-8CAA175A6B97}"/>
                  </a:ext>
                </a:extLst>
              </p:cNvPr>
              <p:cNvSpPr>
                <a:spLocks noChangeAspect="1" noChangeArrowheads="1"/>
              </p:cNvSpPr>
              <p:nvPr/>
            </p:nvSpPr>
            <p:spPr bwMode="auto">
              <a:xfrm>
                <a:off x="4438183" y="1652381"/>
                <a:ext cx="419470" cy="419469"/>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675" dirty="0">
                  <a:latin typeface="Lato Light" panose="020F0502020204030203" pitchFamily="34" charset="0"/>
                </a:endParaRPr>
              </a:p>
            </p:txBody>
          </p:sp>
          <p:sp>
            <p:nvSpPr>
              <p:cNvPr id="20" name="TextBox 19">
                <a:extLst>
                  <a:ext uri="{FF2B5EF4-FFF2-40B4-BE49-F238E27FC236}">
                    <a16:creationId xmlns:a16="http://schemas.microsoft.com/office/drawing/2014/main" id="{3E509F31-2DEE-F057-2556-768301A822C4}"/>
                  </a:ext>
                </a:extLst>
              </p:cNvPr>
              <p:cNvSpPr txBox="1"/>
              <p:nvPr/>
            </p:nvSpPr>
            <p:spPr>
              <a:xfrm>
                <a:off x="1164133" y="2127967"/>
                <a:ext cx="919601" cy="287691"/>
              </a:xfrm>
              <a:prstGeom prst="rect">
                <a:avLst/>
              </a:prstGeom>
              <a:noFill/>
            </p:spPr>
            <p:txBody>
              <a:bodyPr wrap="none" rtlCol="0" anchor="ctr" anchorCtr="0">
                <a:spAutoFit/>
              </a:bodyPr>
              <a:lstStyle/>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POOLING</a:t>
                </a:r>
              </a:p>
            </p:txBody>
          </p:sp>
          <p:sp>
            <p:nvSpPr>
              <p:cNvPr id="21" name="TextBox 20">
                <a:extLst>
                  <a:ext uri="{FF2B5EF4-FFF2-40B4-BE49-F238E27FC236}">
                    <a16:creationId xmlns:a16="http://schemas.microsoft.com/office/drawing/2014/main" id="{8FAD272D-2A6B-07B9-4E12-3F951404A416}"/>
                  </a:ext>
                </a:extLst>
              </p:cNvPr>
              <p:cNvSpPr txBox="1"/>
              <p:nvPr/>
            </p:nvSpPr>
            <p:spPr>
              <a:xfrm>
                <a:off x="2531697" y="2127967"/>
                <a:ext cx="1258642" cy="287691"/>
              </a:xfrm>
              <a:prstGeom prst="rect">
                <a:avLst/>
              </a:prstGeom>
              <a:noFill/>
            </p:spPr>
            <p:txBody>
              <a:bodyPr wrap="none" rtlCol="0" anchor="ctr" anchorCtr="0">
                <a:spAutoFit/>
              </a:bodyPr>
              <a:lstStyle/>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CASH FLOWS</a:t>
                </a:r>
              </a:p>
            </p:txBody>
          </p:sp>
          <p:sp>
            <p:nvSpPr>
              <p:cNvPr id="22" name="TextBox 21">
                <a:extLst>
                  <a:ext uri="{FF2B5EF4-FFF2-40B4-BE49-F238E27FC236}">
                    <a16:creationId xmlns:a16="http://schemas.microsoft.com/office/drawing/2014/main" id="{AF128330-FCC1-6B33-C65F-C78B91CDA820}"/>
                  </a:ext>
                </a:extLst>
              </p:cNvPr>
              <p:cNvSpPr txBox="1"/>
              <p:nvPr/>
            </p:nvSpPr>
            <p:spPr>
              <a:xfrm>
                <a:off x="4002043" y="2034889"/>
                <a:ext cx="1307500" cy="473844"/>
              </a:xfrm>
              <a:prstGeom prst="rect">
                <a:avLst/>
              </a:prstGeom>
              <a:noFill/>
            </p:spPr>
            <p:txBody>
              <a:bodyPr wrap="none" rtlCol="0" anchor="ctr" anchorCtr="0">
                <a:spAutoFit/>
              </a:bodyPr>
              <a:lstStyle/>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CREDIT </a:t>
                </a:r>
              </a:p>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ENHACEMENT</a:t>
                </a:r>
              </a:p>
            </p:txBody>
          </p:sp>
          <p:sp>
            <p:nvSpPr>
              <p:cNvPr id="23" name="TextBox 22">
                <a:extLst>
                  <a:ext uri="{FF2B5EF4-FFF2-40B4-BE49-F238E27FC236}">
                    <a16:creationId xmlns:a16="http://schemas.microsoft.com/office/drawing/2014/main" id="{4C23F8F1-1760-D4CF-0484-EF14F9C74B7F}"/>
                  </a:ext>
                </a:extLst>
              </p:cNvPr>
              <p:cNvSpPr txBox="1"/>
              <p:nvPr/>
            </p:nvSpPr>
            <p:spPr>
              <a:xfrm>
                <a:off x="5471247" y="2127966"/>
                <a:ext cx="1381702" cy="287691"/>
              </a:xfrm>
              <a:prstGeom prst="rect">
                <a:avLst/>
              </a:prstGeom>
              <a:noFill/>
            </p:spPr>
            <p:txBody>
              <a:bodyPr wrap="none" rtlCol="0" anchor="ctr" anchorCtr="0">
                <a:spAutoFit/>
              </a:bodyPr>
              <a:lstStyle/>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RISK CLASSES</a:t>
                </a:r>
              </a:p>
            </p:txBody>
          </p:sp>
          <p:sp>
            <p:nvSpPr>
              <p:cNvPr id="24" name="TextBox 23">
                <a:extLst>
                  <a:ext uri="{FF2B5EF4-FFF2-40B4-BE49-F238E27FC236}">
                    <a16:creationId xmlns:a16="http://schemas.microsoft.com/office/drawing/2014/main" id="{CBCBF209-F87F-BAE6-DBBC-262463916BC0}"/>
                  </a:ext>
                </a:extLst>
              </p:cNvPr>
              <p:cNvSpPr txBox="1"/>
              <p:nvPr/>
            </p:nvSpPr>
            <p:spPr>
              <a:xfrm>
                <a:off x="7219239" y="2034886"/>
                <a:ext cx="906993" cy="473843"/>
              </a:xfrm>
              <a:prstGeom prst="rect">
                <a:avLst/>
              </a:prstGeom>
              <a:noFill/>
            </p:spPr>
            <p:txBody>
              <a:bodyPr wrap="none" rtlCol="0" anchor="ctr" anchorCtr="0">
                <a:spAutoFit/>
              </a:bodyPr>
              <a:lstStyle/>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CREDIT </a:t>
                </a:r>
              </a:p>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RATINGS</a:t>
                </a:r>
              </a:p>
            </p:txBody>
          </p:sp>
        </p:grpSp>
      </p:grpSp>
      <p:pic>
        <p:nvPicPr>
          <p:cNvPr id="5122" name="Picture 2" descr="Fixed asset free icon">
            <a:extLst>
              <a:ext uri="{FF2B5EF4-FFF2-40B4-BE49-F238E27FC236}">
                <a16:creationId xmlns:a16="http://schemas.microsoft.com/office/drawing/2014/main" id="{B0C1BEC8-71A2-2A00-D504-ABC3A509FA9D}"/>
              </a:ext>
            </a:extLst>
          </p:cNvPr>
          <p:cNvPicPr>
            <a:picLocks noChangeAspect="1" noChangeArrowheads="1"/>
          </p:cNvPicPr>
          <p:nvPr/>
        </p:nvPicPr>
        <p:blipFill>
          <a:blip r:embed="rId2" cstate="email">
            <a:lum bright="70000" contrast="-70000"/>
            <a:extLst>
              <a:ext uri="{BEBA8EAE-BF5A-486C-A8C5-ECC9F3942E4B}">
                <a14:imgProps xmlns:a14="http://schemas.microsoft.com/office/drawing/2010/main">
                  <a14:imgLayer r:embed="rId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75966" y="1723466"/>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Cash flow - Free arrows icons">
            <a:extLst>
              <a:ext uri="{FF2B5EF4-FFF2-40B4-BE49-F238E27FC236}">
                <a16:creationId xmlns:a16="http://schemas.microsoft.com/office/drawing/2014/main" id="{7507320B-7A30-E977-D51B-845F8EE9592B}"/>
              </a:ext>
            </a:extLst>
          </p:cNvPr>
          <p:cNvPicPr>
            <a:picLocks noChangeAspect="1" noChangeArrowheads="1"/>
          </p:cNvPicPr>
          <p:nvPr/>
        </p:nvPicPr>
        <p:blipFill>
          <a:blip r:embed="rId4" cstate="email">
            <a:lum bright="70000" contrast="-70000"/>
            <a:extLst>
              <a:ext uri="{BEBA8EAE-BF5A-486C-A8C5-ECC9F3942E4B}">
                <a14:imgProps xmlns:a14="http://schemas.microsoft.com/office/drawing/2010/main">
                  <a14:imgLayer r:embed="rId5">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2824198" y="1723466"/>
            <a:ext cx="474281" cy="474281"/>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Risks - Free business icons">
            <a:extLst>
              <a:ext uri="{FF2B5EF4-FFF2-40B4-BE49-F238E27FC236}">
                <a16:creationId xmlns:a16="http://schemas.microsoft.com/office/drawing/2014/main" id="{266EDC2E-64D8-A4D1-8ECC-18EB831671B9}"/>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5932545" y="1697837"/>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Title &amp; Mortgage Guaranty Information">
            <a:extLst>
              <a:ext uri="{FF2B5EF4-FFF2-40B4-BE49-F238E27FC236}">
                <a16:creationId xmlns:a16="http://schemas.microsoft.com/office/drawing/2014/main" id="{096C7507-5BFB-F577-80E8-921C01AADEDC}"/>
              </a:ext>
            </a:extLst>
          </p:cNvPr>
          <p:cNvPicPr>
            <a:picLocks noChangeAspect="1" noChangeArrowheads="1"/>
          </p:cNvPicPr>
          <p:nvPr/>
        </p:nvPicPr>
        <p:blipFill>
          <a:blip r:embed="rId8" cstate="email">
            <a:biLevel thresh="25000"/>
            <a:extLst>
              <a:ext uri="{28A0092B-C50C-407E-A947-70E740481C1C}">
                <a14:useLocalDpi xmlns:a14="http://schemas.microsoft.com/office/drawing/2010/main"/>
              </a:ext>
            </a:extLst>
          </a:blip>
          <a:srcRect/>
          <a:stretch>
            <a:fillRect/>
          </a:stretch>
        </p:blipFill>
        <p:spPr bwMode="auto">
          <a:xfrm>
            <a:off x="7458942" y="1695975"/>
            <a:ext cx="410380" cy="4103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260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C0CF7D94-6D16-0DC3-AEE5-E2FF02E40358}"/>
              </a:ext>
            </a:extLst>
          </p:cNvPr>
          <p:cNvSpPr>
            <a:spLocks noGrp="1"/>
          </p:cNvSpPr>
          <p:nvPr>
            <p:ph type="title"/>
          </p:nvPr>
        </p:nvSpPr>
        <p:spPr>
          <a:xfrm>
            <a:off x="489353" y="-157115"/>
            <a:ext cx="7611320" cy="1047530"/>
          </a:xfrm>
        </p:spPr>
        <p:txBody>
          <a:bodyPr anchor="b">
            <a:normAutofit/>
          </a:bodyPr>
          <a:lstStyle/>
          <a:p>
            <a:pPr algn="ctr"/>
            <a:r>
              <a:rPr lang="en-US" sz="2900" b="1" dirty="0">
                <a:solidFill>
                  <a:srgbClr val="002060"/>
                </a:solidFill>
              </a:rPr>
              <a:t>The $23 Billion Equipment ABS Market</a:t>
            </a:r>
          </a:p>
        </p:txBody>
      </p:sp>
      <p:sp>
        <p:nvSpPr>
          <p:cNvPr id="26"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2458" y="1779651"/>
            <a:ext cx="2441321" cy="13716"/>
          </a:xfrm>
          <a:custGeom>
            <a:avLst/>
            <a:gdLst>
              <a:gd name="connsiteX0" fmla="*/ 0 w 2441321"/>
              <a:gd name="connsiteY0" fmla="*/ 0 h 13716"/>
              <a:gd name="connsiteX1" fmla="*/ 585917 w 2441321"/>
              <a:gd name="connsiteY1" fmla="*/ 0 h 13716"/>
              <a:gd name="connsiteX2" fmla="*/ 1196247 w 2441321"/>
              <a:gd name="connsiteY2" fmla="*/ 0 h 13716"/>
              <a:gd name="connsiteX3" fmla="*/ 1806578 w 2441321"/>
              <a:gd name="connsiteY3" fmla="*/ 0 h 13716"/>
              <a:gd name="connsiteX4" fmla="*/ 2441321 w 2441321"/>
              <a:gd name="connsiteY4" fmla="*/ 0 h 13716"/>
              <a:gd name="connsiteX5" fmla="*/ 2441321 w 2441321"/>
              <a:gd name="connsiteY5" fmla="*/ 13716 h 13716"/>
              <a:gd name="connsiteX6" fmla="*/ 1830991 w 2441321"/>
              <a:gd name="connsiteY6" fmla="*/ 13716 h 13716"/>
              <a:gd name="connsiteX7" fmla="*/ 1269487 w 2441321"/>
              <a:gd name="connsiteY7" fmla="*/ 13716 h 13716"/>
              <a:gd name="connsiteX8" fmla="*/ 707983 w 2441321"/>
              <a:gd name="connsiteY8" fmla="*/ 13716 h 13716"/>
              <a:gd name="connsiteX9" fmla="*/ 0 w 2441321"/>
              <a:gd name="connsiteY9" fmla="*/ 13716 h 13716"/>
              <a:gd name="connsiteX10" fmla="*/ 0 w 2441321"/>
              <a:gd name="connsiteY10" fmla="*/ 0 h 13716"/>
              <a:gd name="connsiteX0" fmla="*/ 0 w 2441321"/>
              <a:gd name="connsiteY0" fmla="*/ 0 h 13716"/>
              <a:gd name="connsiteX1" fmla="*/ 585917 w 2441321"/>
              <a:gd name="connsiteY1" fmla="*/ 0 h 13716"/>
              <a:gd name="connsiteX2" fmla="*/ 1123008 w 2441321"/>
              <a:gd name="connsiteY2" fmla="*/ 0 h 13716"/>
              <a:gd name="connsiteX3" fmla="*/ 1782164 w 2441321"/>
              <a:gd name="connsiteY3" fmla="*/ 0 h 13716"/>
              <a:gd name="connsiteX4" fmla="*/ 2441321 w 2441321"/>
              <a:gd name="connsiteY4" fmla="*/ 0 h 13716"/>
              <a:gd name="connsiteX5" fmla="*/ 2441321 w 2441321"/>
              <a:gd name="connsiteY5" fmla="*/ 13716 h 13716"/>
              <a:gd name="connsiteX6" fmla="*/ 1879817 w 2441321"/>
              <a:gd name="connsiteY6" fmla="*/ 13716 h 13716"/>
              <a:gd name="connsiteX7" fmla="*/ 1318313 w 2441321"/>
              <a:gd name="connsiteY7" fmla="*/ 13716 h 13716"/>
              <a:gd name="connsiteX8" fmla="*/ 659157 w 2441321"/>
              <a:gd name="connsiteY8" fmla="*/ 13716 h 13716"/>
              <a:gd name="connsiteX9" fmla="*/ 0 w 2441321"/>
              <a:gd name="connsiteY9" fmla="*/ 13716 h 13716"/>
              <a:gd name="connsiteX10" fmla="*/ 0 w 2441321"/>
              <a:gd name="connsiteY10"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1321" h="13716" fill="none" extrusionOk="0">
                <a:moveTo>
                  <a:pt x="0" y="0"/>
                </a:moveTo>
                <a:cubicBezTo>
                  <a:pt x="280302" y="-6619"/>
                  <a:pt x="363201" y="4913"/>
                  <a:pt x="585917" y="0"/>
                </a:cubicBezTo>
                <a:cubicBezTo>
                  <a:pt x="832357" y="-10107"/>
                  <a:pt x="996738" y="-34312"/>
                  <a:pt x="1196247" y="0"/>
                </a:cubicBezTo>
                <a:cubicBezTo>
                  <a:pt x="1357180" y="16623"/>
                  <a:pt x="1575042" y="-11041"/>
                  <a:pt x="1806578" y="0"/>
                </a:cubicBezTo>
                <a:cubicBezTo>
                  <a:pt x="2016334" y="246"/>
                  <a:pt x="2239353" y="-8732"/>
                  <a:pt x="2441321" y="0"/>
                </a:cubicBezTo>
                <a:cubicBezTo>
                  <a:pt x="2440988" y="3698"/>
                  <a:pt x="2440649" y="9400"/>
                  <a:pt x="2441321" y="13716"/>
                </a:cubicBezTo>
                <a:cubicBezTo>
                  <a:pt x="2159375" y="44437"/>
                  <a:pt x="2054495" y="41094"/>
                  <a:pt x="1830991" y="13716"/>
                </a:cubicBezTo>
                <a:cubicBezTo>
                  <a:pt x="1615846" y="2937"/>
                  <a:pt x="1521674" y="-9994"/>
                  <a:pt x="1269487" y="13716"/>
                </a:cubicBezTo>
                <a:cubicBezTo>
                  <a:pt x="1019660" y="49388"/>
                  <a:pt x="886911" y="37779"/>
                  <a:pt x="707983" y="13716"/>
                </a:cubicBezTo>
                <a:cubicBezTo>
                  <a:pt x="523434" y="22749"/>
                  <a:pt x="307885" y="29744"/>
                  <a:pt x="0" y="13716"/>
                </a:cubicBezTo>
                <a:cubicBezTo>
                  <a:pt x="-361" y="7755"/>
                  <a:pt x="-276" y="2718"/>
                  <a:pt x="0" y="0"/>
                </a:cubicBezTo>
                <a:close/>
              </a:path>
              <a:path w="2441321" h="13716" stroke="0" extrusionOk="0">
                <a:moveTo>
                  <a:pt x="0" y="0"/>
                </a:moveTo>
                <a:cubicBezTo>
                  <a:pt x="212126" y="-10265"/>
                  <a:pt x="442910" y="-11728"/>
                  <a:pt x="585917" y="0"/>
                </a:cubicBezTo>
                <a:cubicBezTo>
                  <a:pt x="724579" y="21751"/>
                  <a:pt x="879365" y="-33198"/>
                  <a:pt x="1123008" y="0"/>
                </a:cubicBezTo>
                <a:cubicBezTo>
                  <a:pt x="1377247" y="11220"/>
                  <a:pt x="1597861" y="-34280"/>
                  <a:pt x="1782164" y="0"/>
                </a:cubicBezTo>
                <a:cubicBezTo>
                  <a:pt x="1975975" y="-3055"/>
                  <a:pt x="2116392" y="-15531"/>
                  <a:pt x="2441321" y="0"/>
                </a:cubicBezTo>
                <a:cubicBezTo>
                  <a:pt x="2441197" y="4300"/>
                  <a:pt x="2441101" y="8760"/>
                  <a:pt x="2441321" y="13716"/>
                </a:cubicBezTo>
                <a:cubicBezTo>
                  <a:pt x="2180658" y="13750"/>
                  <a:pt x="2084222" y="1362"/>
                  <a:pt x="1879817" y="13716"/>
                </a:cubicBezTo>
                <a:cubicBezTo>
                  <a:pt x="1668182" y="11650"/>
                  <a:pt x="1551159" y="-11049"/>
                  <a:pt x="1318313" y="13716"/>
                </a:cubicBezTo>
                <a:cubicBezTo>
                  <a:pt x="1059871" y="51823"/>
                  <a:pt x="901959" y="19259"/>
                  <a:pt x="659157" y="13716"/>
                </a:cubicBezTo>
                <a:cubicBezTo>
                  <a:pt x="444692" y="23911"/>
                  <a:pt x="245032" y="35310"/>
                  <a:pt x="0" y="13716"/>
                </a:cubicBezTo>
                <a:cubicBezTo>
                  <a:pt x="124" y="7937"/>
                  <a:pt x="389" y="2990"/>
                  <a:pt x="0" y="0"/>
                </a:cubicBezTo>
                <a:close/>
              </a:path>
              <a:path w="2441321" h="13716" fill="none" stroke="0" extrusionOk="0">
                <a:moveTo>
                  <a:pt x="0" y="0"/>
                </a:moveTo>
                <a:cubicBezTo>
                  <a:pt x="265389" y="-22361"/>
                  <a:pt x="344845" y="-65"/>
                  <a:pt x="585917" y="0"/>
                </a:cubicBezTo>
                <a:cubicBezTo>
                  <a:pt x="858472" y="13102"/>
                  <a:pt x="949265" y="-8078"/>
                  <a:pt x="1196247" y="0"/>
                </a:cubicBezTo>
                <a:cubicBezTo>
                  <a:pt x="1379248" y="30707"/>
                  <a:pt x="1585336" y="24963"/>
                  <a:pt x="1806578" y="0"/>
                </a:cubicBezTo>
                <a:cubicBezTo>
                  <a:pt x="1986731" y="-19207"/>
                  <a:pt x="2264933" y="16601"/>
                  <a:pt x="2441321" y="0"/>
                </a:cubicBezTo>
                <a:cubicBezTo>
                  <a:pt x="2441661" y="4449"/>
                  <a:pt x="2442057" y="7876"/>
                  <a:pt x="2441321" y="13716"/>
                </a:cubicBezTo>
                <a:cubicBezTo>
                  <a:pt x="2149099" y="22776"/>
                  <a:pt x="2027305" y="51898"/>
                  <a:pt x="1830991" y="13716"/>
                </a:cubicBezTo>
                <a:cubicBezTo>
                  <a:pt x="1614571" y="-23336"/>
                  <a:pt x="1500998" y="6155"/>
                  <a:pt x="1269487" y="13716"/>
                </a:cubicBezTo>
                <a:cubicBezTo>
                  <a:pt x="1042399" y="33262"/>
                  <a:pt x="927922" y="41250"/>
                  <a:pt x="707983" y="13716"/>
                </a:cubicBezTo>
                <a:cubicBezTo>
                  <a:pt x="502575" y="-9952"/>
                  <a:pt x="350393" y="29927"/>
                  <a:pt x="0" y="13716"/>
                </a:cubicBezTo>
                <a:cubicBezTo>
                  <a:pt x="-248" y="8631"/>
                  <a:pt x="228" y="3134"/>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custGeom>
                    <a:avLst/>
                    <a:gdLst>
                      <a:gd name="connsiteX0" fmla="*/ 0 w 2441321"/>
                      <a:gd name="connsiteY0" fmla="*/ 0 h 13716"/>
                      <a:gd name="connsiteX1" fmla="*/ 585917 w 2441321"/>
                      <a:gd name="connsiteY1" fmla="*/ 0 h 13716"/>
                      <a:gd name="connsiteX2" fmla="*/ 1196247 w 2441321"/>
                      <a:gd name="connsiteY2" fmla="*/ 0 h 13716"/>
                      <a:gd name="connsiteX3" fmla="*/ 1806578 w 2441321"/>
                      <a:gd name="connsiteY3" fmla="*/ 0 h 13716"/>
                      <a:gd name="connsiteX4" fmla="*/ 2441321 w 2441321"/>
                      <a:gd name="connsiteY4" fmla="*/ 0 h 13716"/>
                      <a:gd name="connsiteX5" fmla="*/ 2441321 w 2441321"/>
                      <a:gd name="connsiteY5" fmla="*/ 13716 h 13716"/>
                      <a:gd name="connsiteX6" fmla="*/ 1830991 w 2441321"/>
                      <a:gd name="connsiteY6" fmla="*/ 13716 h 13716"/>
                      <a:gd name="connsiteX7" fmla="*/ 1269487 w 2441321"/>
                      <a:gd name="connsiteY7" fmla="*/ 13716 h 13716"/>
                      <a:gd name="connsiteX8" fmla="*/ 707983 w 2441321"/>
                      <a:gd name="connsiteY8" fmla="*/ 13716 h 13716"/>
                      <a:gd name="connsiteX9" fmla="*/ 0 w 2441321"/>
                      <a:gd name="connsiteY9" fmla="*/ 13716 h 13716"/>
                      <a:gd name="connsiteX10" fmla="*/ 0 w 2441321"/>
                      <a:gd name="connsiteY10"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1321" h="13716" fill="none" extrusionOk="0">
                        <a:moveTo>
                          <a:pt x="0" y="0"/>
                        </a:moveTo>
                        <a:cubicBezTo>
                          <a:pt x="273217" y="-17533"/>
                          <a:pt x="355785" y="-4171"/>
                          <a:pt x="585917" y="0"/>
                        </a:cubicBezTo>
                        <a:cubicBezTo>
                          <a:pt x="816049" y="4171"/>
                          <a:pt x="991446" y="-9419"/>
                          <a:pt x="1196247" y="0"/>
                        </a:cubicBezTo>
                        <a:cubicBezTo>
                          <a:pt x="1401048" y="9419"/>
                          <a:pt x="1589984" y="-731"/>
                          <a:pt x="1806578" y="0"/>
                        </a:cubicBezTo>
                        <a:cubicBezTo>
                          <a:pt x="2023172" y="731"/>
                          <a:pt x="2247754" y="8393"/>
                          <a:pt x="2441321" y="0"/>
                        </a:cubicBezTo>
                        <a:cubicBezTo>
                          <a:pt x="2440939" y="4363"/>
                          <a:pt x="2441580" y="8857"/>
                          <a:pt x="2441321" y="13716"/>
                        </a:cubicBezTo>
                        <a:cubicBezTo>
                          <a:pt x="2169723" y="25934"/>
                          <a:pt x="2045712" y="34568"/>
                          <a:pt x="1830991" y="13716"/>
                        </a:cubicBezTo>
                        <a:cubicBezTo>
                          <a:pt x="1616270" y="-7136"/>
                          <a:pt x="1505876" y="-623"/>
                          <a:pt x="1269487" y="13716"/>
                        </a:cubicBezTo>
                        <a:cubicBezTo>
                          <a:pt x="1033098" y="28055"/>
                          <a:pt x="908661" y="36619"/>
                          <a:pt x="707983" y="13716"/>
                        </a:cubicBezTo>
                        <a:cubicBezTo>
                          <a:pt x="507305" y="-9187"/>
                          <a:pt x="333592" y="16187"/>
                          <a:pt x="0" y="13716"/>
                        </a:cubicBezTo>
                        <a:cubicBezTo>
                          <a:pt x="-459" y="8317"/>
                          <a:pt x="190" y="2744"/>
                          <a:pt x="0" y="0"/>
                        </a:cubicBezTo>
                        <a:close/>
                      </a:path>
                      <a:path w="2441321" h="13716" stroke="0" extrusionOk="0">
                        <a:moveTo>
                          <a:pt x="0" y="0"/>
                        </a:moveTo>
                        <a:cubicBezTo>
                          <a:pt x="207071" y="-14617"/>
                          <a:pt x="444194" y="-15606"/>
                          <a:pt x="585917" y="0"/>
                        </a:cubicBezTo>
                        <a:cubicBezTo>
                          <a:pt x="727640" y="15606"/>
                          <a:pt x="904326" y="-79"/>
                          <a:pt x="1123008" y="0"/>
                        </a:cubicBezTo>
                        <a:cubicBezTo>
                          <a:pt x="1341690" y="79"/>
                          <a:pt x="1600014" y="10401"/>
                          <a:pt x="1782164" y="0"/>
                        </a:cubicBezTo>
                        <a:cubicBezTo>
                          <a:pt x="1964314" y="-10401"/>
                          <a:pt x="2143537" y="-21488"/>
                          <a:pt x="2441321" y="0"/>
                        </a:cubicBezTo>
                        <a:cubicBezTo>
                          <a:pt x="2441507" y="3335"/>
                          <a:pt x="2441322" y="9457"/>
                          <a:pt x="2441321" y="13716"/>
                        </a:cubicBezTo>
                        <a:cubicBezTo>
                          <a:pt x="2166745" y="24201"/>
                          <a:pt x="2078726" y="10904"/>
                          <a:pt x="1879817" y="13716"/>
                        </a:cubicBezTo>
                        <a:cubicBezTo>
                          <a:pt x="1680908" y="16528"/>
                          <a:pt x="1548770" y="-8699"/>
                          <a:pt x="1318313" y="13716"/>
                        </a:cubicBezTo>
                        <a:cubicBezTo>
                          <a:pt x="1087856" y="36131"/>
                          <a:pt x="894613" y="-645"/>
                          <a:pt x="659157" y="13716"/>
                        </a:cubicBezTo>
                        <a:cubicBezTo>
                          <a:pt x="423701" y="28077"/>
                          <a:pt x="246611" y="29403"/>
                          <a:pt x="0" y="13716"/>
                        </a:cubicBezTo>
                        <a:cubicBezTo>
                          <a:pt x="-120" y="7867"/>
                          <a:pt x="674" y="3919"/>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3C055C52-E429-A62F-63B2-146C045DBCDA}"/>
              </a:ext>
            </a:extLst>
          </p:cNvPr>
          <p:cNvGrpSpPr/>
          <p:nvPr/>
        </p:nvGrpSpPr>
        <p:grpSpPr>
          <a:xfrm>
            <a:off x="327785" y="1240235"/>
            <a:ext cx="7934456" cy="3553444"/>
            <a:chOff x="2004254" y="2565502"/>
            <a:chExt cx="5203026" cy="2561848"/>
          </a:xfrm>
        </p:grpSpPr>
        <p:pic>
          <p:nvPicPr>
            <p:cNvPr id="5" name="Content Placeholder 4" descr="Graphical user interface, application, Word, PowerPoint&#10;&#10;Description automatically generated">
              <a:extLst>
                <a:ext uri="{FF2B5EF4-FFF2-40B4-BE49-F238E27FC236}">
                  <a16:creationId xmlns:a16="http://schemas.microsoft.com/office/drawing/2014/main" id="{3D3E978F-4139-E874-6ED8-F5F95CC1CDC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9526" t="31085" r="4920" b="18364"/>
            <a:stretch/>
          </p:blipFill>
          <p:spPr>
            <a:xfrm>
              <a:off x="2004254" y="2706361"/>
              <a:ext cx="5124982" cy="2286000"/>
            </a:xfrm>
            <a:prstGeom prst="rect">
              <a:avLst/>
            </a:prstGeom>
          </p:spPr>
        </p:pic>
        <p:sp>
          <p:nvSpPr>
            <p:cNvPr id="7" name="TextBox 6">
              <a:extLst>
                <a:ext uri="{FF2B5EF4-FFF2-40B4-BE49-F238E27FC236}">
                  <a16:creationId xmlns:a16="http://schemas.microsoft.com/office/drawing/2014/main" id="{7ADB57B2-A1BC-FF73-CA45-DD4DB0BBD5FF}"/>
                </a:ext>
              </a:extLst>
            </p:cNvPr>
            <p:cNvSpPr txBox="1"/>
            <p:nvPr/>
          </p:nvSpPr>
          <p:spPr>
            <a:xfrm>
              <a:off x="2178080" y="2565502"/>
              <a:ext cx="5029200" cy="182338"/>
            </a:xfrm>
            <a:prstGeom prst="rect">
              <a:avLst/>
            </a:prstGeom>
            <a:noFill/>
          </p:spPr>
          <p:txBody>
            <a:bodyPr wrap="square">
              <a:spAutoFit/>
            </a:bodyPr>
            <a:lstStyle/>
            <a:p>
              <a:pPr algn="ctr" defTabSz="278892">
                <a:spcAft>
                  <a:spcPts val="600"/>
                </a:spcAft>
              </a:pPr>
              <a:endParaRPr lang="en-US" sz="1050" b="1" dirty="0">
                <a:solidFill>
                  <a:srgbClr val="000000"/>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522A0030-4A23-1265-E679-BFAD0312B2C6}"/>
                </a:ext>
              </a:extLst>
            </p:cNvPr>
            <p:cNvSpPr txBox="1"/>
            <p:nvPr/>
          </p:nvSpPr>
          <p:spPr>
            <a:xfrm>
              <a:off x="2250703" y="4923039"/>
              <a:ext cx="778116" cy="204311"/>
            </a:xfrm>
            <a:prstGeom prst="roundRect">
              <a:avLst/>
            </a:prstGeom>
            <a:noFill/>
          </p:spPr>
          <p:txBody>
            <a:bodyPr wrap="none" rtlCol="0">
              <a:spAutoFit/>
            </a:bodyPr>
            <a:lstStyle/>
            <a:p>
              <a:pPr defTabSz="278892">
                <a:spcAft>
                  <a:spcPts val="600"/>
                </a:spcAft>
              </a:pPr>
              <a:r>
                <a:rPr lang="en-US" sz="366" i="1" kern="1200">
                  <a:solidFill>
                    <a:srgbClr val="000000"/>
                  </a:solidFill>
                  <a:latin typeface="Arial" panose="020B0604020202020204" pitchFamily="34" charset="0"/>
                  <a:ea typeface="+mn-ea"/>
                  <a:cs typeface="Arial" panose="020B0604020202020204" pitchFamily="34" charset="0"/>
                </a:rPr>
                <a:t>Source: </a:t>
              </a:r>
              <a:r>
                <a:rPr lang="en-US" sz="366" i="1" kern="1200" err="1">
                  <a:solidFill>
                    <a:srgbClr val="000000"/>
                  </a:solidFill>
                  <a:latin typeface="Arial" panose="020B0604020202020204" pitchFamily="34" charset="0"/>
                  <a:ea typeface="+mn-ea"/>
                  <a:cs typeface="Arial" panose="020B0604020202020204" pitchFamily="34" charset="0"/>
                </a:rPr>
                <a:t>Finsight</a:t>
              </a:r>
              <a:r>
                <a:rPr lang="en-US" sz="366" i="1" kern="1200">
                  <a:solidFill>
                    <a:srgbClr val="000000"/>
                  </a:solidFill>
                  <a:latin typeface="Arial" panose="020B0604020202020204" pitchFamily="34" charset="0"/>
                  <a:ea typeface="+mn-ea"/>
                  <a:cs typeface="Arial" panose="020B0604020202020204" pitchFamily="34" charset="0"/>
                </a:rPr>
                <a:t>.</a:t>
              </a:r>
              <a:endParaRPr lang="en-US" sz="600" i="1">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8668983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3652F6-2E5A-48D7-BE53-871355F16D09}"/>
              </a:ext>
            </a:extLst>
          </p:cNvPr>
          <p:cNvSpPr>
            <a:spLocks noGrp="1"/>
          </p:cNvSpPr>
          <p:nvPr>
            <p:ph type="title"/>
          </p:nvPr>
        </p:nvSpPr>
        <p:spPr>
          <a:xfrm>
            <a:off x="774245" y="-50021"/>
            <a:ext cx="7886700" cy="994172"/>
          </a:xfrm>
        </p:spPr>
        <p:txBody>
          <a:bodyPr/>
          <a:lstStyle/>
          <a:p>
            <a:r>
              <a:rPr lang="en-US" dirty="0">
                <a:solidFill>
                  <a:schemeClr val="accent5">
                    <a:lumMod val="50000"/>
                  </a:schemeClr>
                </a:solidFill>
              </a:rPr>
              <a:t>Capital Markets Favor Equipment ABS </a:t>
            </a:r>
          </a:p>
        </p:txBody>
      </p:sp>
      <p:grpSp>
        <p:nvGrpSpPr>
          <p:cNvPr id="20" name="Group 19">
            <a:extLst>
              <a:ext uri="{FF2B5EF4-FFF2-40B4-BE49-F238E27FC236}">
                <a16:creationId xmlns:a16="http://schemas.microsoft.com/office/drawing/2014/main" id="{D22607BC-9E8C-773B-3266-CBF192B7BAAF}"/>
              </a:ext>
            </a:extLst>
          </p:cNvPr>
          <p:cNvGrpSpPr/>
          <p:nvPr/>
        </p:nvGrpSpPr>
        <p:grpSpPr>
          <a:xfrm>
            <a:off x="360956" y="545036"/>
            <a:ext cx="3870008" cy="2421747"/>
            <a:chOff x="4404838" y="-151267"/>
            <a:chExt cx="4120447" cy="3238685"/>
          </a:xfrm>
        </p:grpSpPr>
        <p:sp>
          <p:nvSpPr>
            <p:cNvPr id="6" name="Text Placeholder 5">
              <a:extLst>
                <a:ext uri="{FF2B5EF4-FFF2-40B4-BE49-F238E27FC236}">
                  <a16:creationId xmlns:a16="http://schemas.microsoft.com/office/drawing/2014/main" id="{B996AEB4-8594-B05E-3933-D995055A67D4}"/>
                </a:ext>
              </a:extLst>
            </p:cNvPr>
            <p:cNvSpPr txBox="1">
              <a:spLocks/>
            </p:cNvSpPr>
            <p:nvPr/>
          </p:nvSpPr>
          <p:spPr>
            <a:xfrm>
              <a:off x="4440198" y="-151267"/>
              <a:ext cx="4085087" cy="1289706"/>
            </a:xfr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200" dirty="0">
                <a:solidFill>
                  <a:schemeClr val="accent5">
                    <a:lumMod val="50000"/>
                  </a:schemeClr>
                </a:solidFill>
                <a:latin typeface="Arial" panose="020B0604020202020204" pitchFamily="34" charset="0"/>
                <a:ea typeface="Calibri" panose="020F0502020204030204" pitchFamily="34" charset="0"/>
                <a:cs typeface="Arial" panose="020B0604020202020204" pitchFamily="34" charset="0"/>
              </a:endParaRPr>
            </a:p>
            <a:p>
              <a:pPr marL="0" indent="0">
                <a:buNone/>
              </a:pPr>
              <a:r>
                <a:rPr lang="en-US" sz="1600" b="1" dirty="0">
                  <a:solidFill>
                    <a:srgbClr val="002060"/>
                  </a:solidFill>
                  <a:latin typeface="Arial" panose="020B0604020202020204" pitchFamily="34" charset="0"/>
                  <a:ea typeface="Calibri" panose="020F0502020204030204" pitchFamily="34" charset="0"/>
                  <a:cs typeface="Arial" panose="020B0604020202020204" pitchFamily="34" charset="0"/>
                </a:rPr>
                <a:t>The $22.6 billion equipment ABS market is an attractive funding source for equipment finance firms given its demonstrated track record and strong investor demand.</a:t>
              </a:r>
            </a:p>
            <a:p>
              <a:r>
                <a:rPr lang="en-US" sz="1200" dirty="0">
                  <a:solidFill>
                    <a:srgbClr val="002060"/>
                  </a:solidFill>
                  <a:latin typeface="Arial" panose="020B0604020202020204" pitchFamily="34" charset="0"/>
                  <a:ea typeface="Calibri" panose="020F0502020204030204" pitchFamily="34" charset="0"/>
                  <a:cs typeface="Arial" panose="020B0604020202020204" pitchFamily="34" charset="0"/>
                </a:rPr>
                <a:t>The equipment ABS market has been a reliable source of funding for equipment  finance firms for decades.</a:t>
              </a:r>
            </a:p>
            <a:p>
              <a:r>
                <a:rPr lang="en-US" sz="1200" dirty="0">
                  <a:solidFill>
                    <a:srgbClr val="002060"/>
                  </a:solidFill>
                  <a:latin typeface="Arial" panose="020B0604020202020204" pitchFamily="34" charset="0"/>
                  <a:ea typeface="Calibri" panose="020F0502020204030204" pitchFamily="34" charset="0"/>
                  <a:cs typeface="Arial" panose="020B0604020202020204" pitchFamily="34" charset="0"/>
                </a:rPr>
                <a:t>I</a:t>
              </a:r>
              <a:r>
                <a:rPr lang="en-US" sz="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t is a critical funding tool for many independents as well as captives, such as John Deere </a:t>
              </a:r>
              <a:r>
                <a:rPr lang="en-US" sz="1200" dirty="0">
                  <a:solidFill>
                    <a:srgbClr val="002060"/>
                  </a:solidFill>
                  <a:latin typeface="Arial" panose="020B0604020202020204" pitchFamily="34" charset="0"/>
                  <a:ea typeface="Calibri" panose="020F0502020204030204" pitchFamily="34" charset="0"/>
                  <a:cs typeface="Arial" panose="020B0604020202020204" pitchFamily="34" charset="0"/>
                </a:rPr>
                <a:t>and HP, </a:t>
              </a:r>
              <a:r>
                <a:rPr lang="en-US" sz="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because it is dependable and inexpensive. </a:t>
              </a:r>
            </a:p>
            <a:p>
              <a:r>
                <a:rPr lang="en-US" sz="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Larger EF firms capable of securitizing $100 million or more at any given time prefer the efficiency of the public ABS market while smaller EF firms have access to the private market.</a:t>
              </a:r>
            </a:p>
            <a:p>
              <a:r>
                <a:rPr lang="en-US" sz="1200" dirty="0">
                  <a:solidFill>
                    <a:srgbClr val="002060"/>
                  </a:solidFill>
                  <a:effectLst/>
                  <a:latin typeface="Arial" panose="020B0604020202020204" pitchFamily="34" charset="0"/>
                  <a:ea typeface="Calibri" panose="020F0502020204030204" pitchFamily="34" charset="0"/>
                  <a:cs typeface="Arial" panose="020B0604020202020204" pitchFamily="34" charset="0"/>
                </a:rPr>
                <a:t>Equipment ABS truly affords accessibility for small and medium ticket equipment leasing and finance companies that do not have access to the unsecured debt markets.</a:t>
              </a:r>
            </a:p>
            <a:p>
              <a:pPr>
                <a:lnSpc>
                  <a:spcPct val="100000"/>
                </a:lnSpc>
                <a:spcBef>
                  <a:spcPts val="600"/>
                </a:spcBef>
              </a:pPr>
              <a:endParaRPr lang="en-US" sz="1200" dirty="0">
                <a:solidFill>
                  <a:schemeClr val="accent5">
                    <a:lumMod val="50000"/>
                  </a:schemeClr>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8C802EFE-7CC4-3A35-DC0C-24CEE1C5E41A}"/>
                </a:ext>
              </a:extLst>
            </p:cNvPr>
            <p:cNvSpPr txBox="1">
              <a:spLocks/>
            </p:cNvSpPr>
            <p:nvPr/>
          </p:nvSpPr>
          <p:spPr>
            <a:xfrm>
              <a:off x="4404838" y="1797712"/>
              <a:ext cx="4085087" cy="1289706"/>
            </a:xfr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400" b="1"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p:txBody>
        </p:sp>
      </p:grpSp>
      <p:grpSp>
        <p:nvGrpSpPr>
          <p:cNvPr id="2" name="Group 1">
            <a:extLst>
              <a:ext uri="{FF2B5EF4-FFF2-40B4-BE49-F238E27FC236}">
                <a16:creationId xmlns:a16="http://schemas.microsoft.com/office/drawing/2014/main" id="{78FFB2D3-92E0-2281-9521-ED1418DEF6DA}"/>
              </a:ext>
            </a:extLst>
          </p:cNvPr>
          <p:cNvGrpSpPr/>
          <p:nvPr/>
        </p:nvGrpSpPr>
        <p:grpSpPr>
          <a:xfrm>
            <a:off x="4394250" y="795522"/>
            <a:ext cx="3390291" cy="4135707"/>
            <a:chOff x="5514905" y="422438"/>
            <a:chExt cx="3183129" cy="4018693"/>
          </a:xfrm>
        </p:grpSpPr>
        <p:graphicFrame>
          <p:nvGraphicFramePr>
            <p:cNvPr id="4" name="Table 4">
              <a:extLst>
                <a:ext uri="{FF2B5EF4-FFF2-40B4-BE49-F238E27FC236}">
                  <a16:creationId xmlns:a16="http://schemas.microsoft.com/office/drawing/2014/main" id="{B8E476C4-629A-1BA8-7257-808FE8F3BC80}"/>
                </a:ext>
              </a:extLst>
            </p:cNvPr>
            <p:cNvGraphicFramePr>
              <a:graphicFrameLocks/>
            </p:cNvGraphicFramePr>
            <p:nvPr>
              <p:extLst>
                <p:ext uri="{D42A27DB-BD31-4B8C-83A1-F6EECF244321}">
                  <p14:modId xmlns:p14="http://schemas.microsoft.com/office/powerpoint/2010/main" val="1384526225"/>
                </p:ext>
              </p:extLst>
            </p:nvPr>
          </p:nvGraphicFramePr>
          <p:xfrm>
            <a:off x="5607340" y="422438"/>
            <a:ext cx="3090694" cy="379661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347491783"/>
                      </a:ext>
                    </a:extLst>
                  </a:gridCol>
                  <a:gridCol w="731520">
                    <a:extLst>
                      <a:ext uri="{9D8B030D-6E8A-4147-A177-3AD203B41FA5}">
                        <a16:colId xmlns:a16="http://schemas.microsoft.com/office/drawing/2014/main" val="2222514143"/>
                      </a:ext>
                    </a:extLst>
                  </a:gridCol>
                  <a:gridCol w="731520">
                    <a:extLst>
                      <a:ext uri="{9D8B030D-6E8A-4147-A177-3AD203B41FA5}">
                        <a16:colId xmlns:a16="http://schemas.microsoft.com/office/drawing/2014/main" val="3297225445"/>
                      </a:ext>
                    </a:extLst>
                  </a:gridCol>
                </a:tblGrid>
                <a:tr h="301814">
                  <a:tc gridSpan="3">
                    <a:txBody>
                      <a:bodyPr/>
                      <a:lstStyle/>
                      <a:p>
                        <a:pPr algn="ctr"/>
                        <a:r>
                          <a:rPr lang="en-US" sz="1100" dirty="0">
                            <a:solidFill>
                              <a:srgbClr val="FFFFFF"/>
                            </a:solidFill>
                            <a:latin typeface="+mn-lt"/>
                            <a:cs typeface="Arial" panose="020B0604020202020204" pitchFamily="34" charset="0"/>
                          </a:rPr>
                          <a:t>Top Equipment ABS Issuers in 2022</a:t>
                        </a:r>
                      </a:p>
                    </a:txBody>
                    <a:tcPr anchor="ctr">
                      <a:solidFill>
                        <a:schemeClr val="accent2">
                          <a:lumMod val="75000"/>
                        </a:schemeClr>
                      </a:solidFill>
                    </a:tcPr>
                  </a:tc>
                  <a:tc hMerge="1">
                    <a:txBody>
                      <a:bodyPr/>
                      <a:lstStyle/>
                      <a:p>
                        <a:pPr algn="ctr"/>
                        <a:endParaRPr lang="en-US" sz="1050" dirty="0">
                          <a:solidFill>
                            <a:srgbClr val="FFFFFF"/>
                          </a:solidFill>
                          <a:latin typeface="Arial" panose="020B0604020202020204" pitchFamily="34" charset="0"/>
                          <a:cs typeface="Arial" panose="020B0604020202020204" pitchFamily="34" charset="0"/>
                        </a:endParaRPr>
                      </a:p>
                    </a:txBody>
                    <a:tcPr anchor="ctr"/>
                  </a:tc>
                  <a:tc hMerge="1">
                    <a:txBody>
                      <a:bodyPr/>
                      <a:lstStyle/>
                      <a:p>
                        <a:pPr algn="ctr"/>
                        <a:endParaRPr lang="en-US" sz="1050" dirty="0">
                          <a:solidFill>
                            <a:srgbClr val="FFFFFF"/>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435512041"/>
                    </a:ext>
                  </a:extLst>
                </a:tr>
                <a:tr h="392931">
                  <a:tc>
                    <a:txBody>
                      <a:bodyPr/>
                      <a:lstStyle/>
                      <a:p>
                        <a:pPr algn="ctr"/>
                        <a:r>
                          <a:rPr lang="en-US" sz="1100" dirty="0">
                            <a:solidFill>
                              <a:srgbClr val="FFFFFF"/>
                            </a:solidFill>
                            <a:latin typeface="+mn-lt"/>
                            <a:cs typeface="Arial" panose="020B0604020202020204" pitchFamily="34" charset="0"/>
                          </a:rPr>
                          <a:t> Issuer</a:t>
                        </a:r>
                      </a:p>
                    </a:txBody>
                    <a:tcPr anchor="ctr">
                      <a:solidFill>
                        <a:schemeClr val="bg2"/>
                      </a:solidFill>
                    </a:tcPr>
                  </a:tc>
                  <a:tc>
                    <a:txBody>
                      <a:bodyPr/>
                      <a:lstStyle/>
                      <a:p>
                        <a:pPr algn="ctr"/>
                        <a:r>
                          <a:rPr lang="en-US" sz="1100" dirty="0">
                            <a:solidFill>
                              <a:srgbClr val="FFFFFF"/>
                            </a:solidFill>
                            <a:latin typeface="+mn-lt"/>
                            <a:cs typeface="Arial" panose="020B0604020202020204" pitchFamily="34" charset="0"/>
                          </a:rPr>
                          <a:t>Total Issuance (MMs)</a:t>
                        </a:r>
                      </a:p>
                    </a:txBody>
                    <a:tcPr anchor="ctr">
                      <a:solidFill>
                        <a:schemeClr val="bg2"/>
                      </a:solidFill>
                    </a:tcPr>
                  </a:tc>
                  <a:tc>
                    <a:txBody>
                      <a:bodyPr/>
                      <a:lstStyle/>
                      <a:p>
                        <a:pPr algn="ctr"/>
                        <a:r>
                          <a:rPr lang="en-US" sz="1100" dirty="0">
                            <a:solidFill>
                              <a:srgbClr val="FFFFFF"/>
                            </a:solidFill>
                            <a:latin typeface="+mn-lt"/>
                            <a:cs typeface="Arial" panose="020B0604020202020204" pitchFamily="34" charset="0"/>
                          </a:rPr>
                          <a:t>Number of Deals</a:t>
                        </a:r>
                      </a:p>
                    </a:txBody>
                    <a:tcPr anchor="ctr">
                      <a:solidFill>
                        <a:schemeClr val="bg2"/>
                      </a:solidFill>
                    </a:tcPr>
                  </a:tc>
                  <a:extLst>
                    <a:ext uri="{0D108BD9-81ED-4DB2-BD59-A6C34878D82A}">
                      <a16:rowId xmlns:a16="http://schemas.microsoft.com/office/drawing/2014/main" val="18138896"/>
                    </a:ext>
                  </a:extLst>
                </a:tr>
                <a:tr h="287141">
                  <a:tc>
                    <a:txBody>
                      <a:bodyPr/>
                      <a:lstStyle/>
                      <a:p>
                        <a:pPr algn="l"/>
                        <a:r>
                          <a:rPr lang="en-US" sz="1100" dirty="0">
                            <a:solidFill>
                              <a:srgbClr val="000000"/>
                            </a:solidFill>
                            <a:latin typeface="+mn-lt"/>
                            <a:cs typeface="Arial" panose="020B0604020202020204" pitchFamily="34" charset="0"/>
                          </a:rPr>
                          <a:t>Deere &amp; Co.</a:t>
                        </a:r>
                      </a:p>
                    </a:txBody>
                    <a:tcPr anchor="ctr"/>
                  </a:tc>
                  <a:tc>
                    <a:txBody>
                      <a:bodyPr/>
                      <a:lstStyle/>
                      <a:p>
                        <a:pPr algn="ctr"/>
                        <a:r>
                          <a:rPr lang="en-US" sz="1100" dirty="0">
                            <a:solidFill>
                              <a:srgbClr val="000000"/>
                            </a:solidFill>
                            <a:latin typeface="+mn-lt"/>
                            <a:cs typeface="Arial" panose="020B0604020202020204" pitchFamily="34" charset="0"/>
                          </a:rPr>
                          <a:t>$3,716</a:t>
                        </a:r>
                      </a:p>
                    </a:txBody>
                    <a:tcPr anchor="ctr"/>
                  </a:tc>
                  <a:tc>
                    <a:txBody>
                      <a:bodyPr/>
                      <a:lstStyle/>
                      <a:p>
                        <a:pPr algn="ctr"/>
                        <a:r>
                          <a:rPr lang="en-US" sz="1100" dirty="0">
                            <a:solidFill>
                              <a:srgbClr val="000000"/>
                            </a:solidFill>
                            <a:latin typeface="+mn-lt"/>
                            <a:cs typeface="Arial" panose="020B0604020202020204" pitchFamily="34" charset="0"/>
                          </a:rPr>
                          <a:t>3</a:t>
                        </a:r>
                      </a:p>
                    </a:txBody>
                    <a:tcPr anchor="ctr"/>
                  </a:tc>
                  <a:extLst>
                    <a:ext uri="{0D108BD9-81ED-4DB2-BD59-A6C34878D82A}">
                      <a16:rowId xmlns:a16="http://schemas.microsoft.com/office/drawing/2014/main" val="2341782539"/>
                    </a:ext>
                  </a:extLst>
                </a:tr>
                <a:tr h="287141">
                  <a:tc>
                    <a:txBody>
                      <a:bodyPr/>
                      <a:lstStyle/>
                      <a:p>
                        <a:pPr algn="l"/>
                        <a:r>
                          <a:rPr lang="en-US" sz="1100" dirty="0">
                            <a:solidFill>
                              <a:srgbClr val="000000"/>
                            </a:solidFill>
                            <a:latin typeface="+mn-lt"/>
                            <a:cs typeface="Arial" panose="020B0604020202020204" pitchFamily="34" charset="0"/>
                          </a:rPr>
                          <a:t>CNH Industrial NV</a:t>
                        </a:r>
                      </a:p>
                    </a:txBody>
                    <a:tcPr anchor="ctr"/>
                  </a:tc>
                  <a:tc>
                    <a:txBody>
                      <a:bodyPr/>
                      <a:lstStyle/>
                      <a:p>
                        <a:pPr algn="ctr"/>
                        <a:r>
                          <a:rPr lang="en-US" sz="1100" dirty="0">
                            <a:solidFill>
                              <a:srgbClr val="000000"/>
                            </a:solidFill>
                            <a:latin typeface="+mn-lt"/>
                            <a:cs typeface="Arial" panose="020B0604020202020204" pitchFamily="34" charset="0"/>
                          </a:rPr>
                          <a:t>$2,513</a:t>
                        </a:r>
                      </a:p>
                    </a:txBody>
                    <a:tcPr anchor="ctr"/>
                  </a:tc>
                  <a:tc>
                    <a:txBody>
                      <a:bodyPr/>
                      <a:lstStyle/>
                      <a:p>
                        <a:pPr algn="ctr"/>
                        <a:r>
                          <a:rPr lang="en-US" sz="1100" dirty="0">
                            <a:solidFill>
                              <a:srgbClr val="000000"/>
                            </a:solidFill>
                            <a:latin typeface="+mn-lt"/>
                            <a:cs typeface="Arial" panose="020B0604020202020204" pitchFamily="34" charset="0"/>
                          </a:rPr>
                          <a:t>3</a:t>
                        </a:r>
                      </a:p>
                    </a:txBody>
                    <a:tcPr anchor="ctr"/>
                  </a:tc>
                  <a:extLst>
                    <a:ext uri="{0D108BD9-81ED-4DB2-BD59-A6C34878D82A}">
                      <a16:rowId xmlns:a16="http://schemas.microsoft.com/office/drawing/2014/main" val="2276333653"/>
                    </a:ext>
                  </a:extLst>
                </a:tr>
                <a:tr h="287141">
                  <a:tc>
                    <a:txBody>
                      <a:bodyPr/>
                      <a:lstStyle/>
                      <a:p>
                        <a:pPr algn="l"/>
                        <a:r>
                          <a:rPr lang="en-US" sz="1100" dirty="0">
                            <a:solidFill>
                              <a:srgbClr val="000000"/>
                            </a:solidFill>
                            <a:latin typeface="+mn-lt"/>
                            <a:cs typeface="Arial" panose="020B0604020202020204" pitchFamily="34" charset="0"/>
                          </a:rPr>
                          <a:t>Hewlett Packard</a:t>
                        </a:r>
                      </a:p>
                    </a:txBody>
                    <a:tcPr anchor="ctr"/>
                  </a:tc>
                  <a:tc>
                    <a:txBody>
                      <a:bodyPr/>
                      <a:lstStyle/>
                      <a:p>
                        <a:pPr algn="ctr"/>
                        <a:r>
                          <a:rPr lang="en-US" sz="1100" dirty="0">
                            <a:solidFill>
                              <a:srgbClr val="000000"/>
                            </a:solidFill>
                            <a:latin typeface="+mn-lt"/>
                            <a:cs typeface="Arial" panose="020B0604020202020204" pitchFamily="34" charset="0"/>
                          </a:rPr>
                          <a:t>$2,398</a:t>
                        </a:r>
                      </a:p>
                    </a:txBody>
                    <a:tcPr anchor="ctr"/>
                  </a:tc>
                  <a:tc>
                    <a:txBody>
                      <a:bodyPr/>
                      <a:lstStyle/>
                      <a:p>
                        <a:pPr algn="ctr"/>
                        <a:r>
                          <a:rPr lang="en-US" sz="1100" dirty="0">
                            <a:solidFill>
                              <a:srgbClr val="000000"/>
                            </a:solidFill>
                            <a:latin typeface="+mn-lt"/>
                            <a:cs typeface="Arial" panose="020B0604020202020204" pitchFamily="34" charset="0"/>
                          </a:rPr>
                          <a:t>3</a:t>
                        </a:r>
                      </a:p>
                    </a:txBody>
                    <a:tcPr anchor="ctr"/>
                  </a:tc>
                  <a:extLst>
                    <a:ext uri="{0D108BD9-81ED-4DB2-BD59-A6C34878D82A}">
                      <a16:rowId xmlns:a16="http://schemas.microsoft.com/office/drawing/2014/main" val="3804286580"/>
                    </a:ext>
                  </a:extLst>
                </a:tr>
                <a:tr h="287141">
                  <a:tc>
                    <a:txBody>
                      <a:bodyPr/>
                      <a:lstStyle/>
                      <a:p>
                        <a:pPr algn="l"/>
                        <a:r>
                          <a:rPr lang="en-US" sz="1100" dirty="0">
                            <a:solidFill>
                              <a:srgbClr val="000000"/>
                            </a:solidFill>
                            <a:latin typeface="+mn-lt"/>
                            <a:cs typeface="Arial" panose="020B0604020202020204" pitchFamily="34" charset="0"/>
                          </a:rPr>
                          <a:t>Dell Technologies</a:t>
                        </a:r>
                      </a:p>
                    </a:txBody>
                    <a:tcPr anchor="ctr"/>
                  </a:tc>
                  <a:tc>
                    <a:txBody>
                      <a:bodyPr/>
                      <a:lstStyle/>
                      <a:p>
                        <a:pPr algn="ctr"/>
                        <a:r>
                          <a:rPr lang="en-US" sz="1100" dirty="0">
                            <a:solidFill>
                              <a:srgbClr val="000000"/>
                            </a:solidFill>
                            <a:latin typeface="+mn-lt"/>
                            <a:cs typeface="Arial" panose="020B0604020202020204" pitchFamily="34" charset="0"/>
                          </a:rPr>
                          <a:t>$2,231</a:t>
                        </a:r>
                      </a:p>
                    </a:txBody>
                    <a:tcPr anchor="ctr"/>
                  </a:tc>
                  <a:tc>
                    <a:txBody>
                      <a:bodyPr/>
                      <a:lstStyle/>
                      <a:p>
                        <a:pPr algn="ctr"/>
                        <a:r>
                          <a:rPr lang="en-US" sz="1100" dirty="0">
                            <a:solidFill>
                              <a:srgbClr val="000000"/>
                            </a:solidFill>
                            <a:latin typeface="+mn-lt"/>
                            <a:cs typeface="Arial" panose="020B0604020202020204" pitchFamily="34" charset="0"/>
                          </a:rPr>
                          <a:t>2</a:t>
                        </a:r>
                      </a:p>
                    </a:txBody>
                    <a:tcPr anchor="ctr"/>
                  </a:tc>
                  <a:extLst>
                    <a:ext uri="{0D108BD9-81ED-4DB2-BD59-A6C34878D82A}">
                      <a16:rowId xmlns:a16="http://schemas.microsoft.com/office/drawing/2014/main" val="1744511123"/>
                    </a:ext>
                  </a:extLst>
                </a:tr>
                <a:tr h="287141">
                  <a:tc>
                    <a:txBody>
                      <a:bodyPr/>
                      <a:lstStyle/>
                      <a:p>
                        <a:pPr algn="l"/>
                        <a:r>
                          <a:rPr lang="en-US" sz="1100" dirty="0">
                            <a:solidFill>
                              <a:srgbClr val="000000"/>
                            </a:solidFill>
                            <a:latin typeface="+mn-lt"/>
                            <a:cs typeface="Arial" panose="020B0604020202020204" pitchFamily="34" charset="0"/>
                          </a:rPr>
                          <a:t>Mass Mutual Life Ins. </a:t>
                        </a:r>
                      </a:p>
                    </a:txBody>
                    <a:tcPr anchor="ctr"/>
                  </a:tc>
                  <a:tc>
                    <a:txBody>
                      <a:bodyPr/>
                      <a:lstStyle/>
                      <a:p>
                        <a:pPr algn="ctr"/>
                        <a:r>
                          <a:rPr lang="en-US" sz="1100" dirty="0">
                            <a:solidFill>
                              <a:srgbClr val="000000"/>
                            </a:solidFill>
                            <a:latin typeface="+mn-lt"/>
                            <a:cs typeface="Arial" panose="020B0604020202020204" pitchFamily="34" charset="0"/>
                          </a:rPr>
                          <a:t>$1,798</a:t>
                        </a:r>
                      </a:p>
                    </a:txBody>
                    <a:tcPr anchor="ctr"/>
                  </a:tc>
                  <a:tc>
                    <a:txBody>
                      <a:bodyPr/>
                      <a:lstStyle/>
                      <a:p>
                        <a:pPr algn="ctr"/>
                        <a:r>
                          <a:rPr lang="en-US" sz="1100" dirty="0">
                            <a:solidFill>
                              <a:srgbClr val="000000"/>
                            </a:solidFill>
                            <a:latin typeface="+mn-lt"/>
                            <a:cs typeface="Arial" panose="020B0604020202020204" pitchFamily="34" charset="0"/>
                          </a:rPr>
                          <a:t>2</a:t>
                        </a:r>
                      </a:p>
                    </a:txBody>
                    <a:tcPr anchor="ctr"/>
                  </a:tc>
                  <a:extLst>
                    <a:ext uri="{0D108BD9-81ED-4DB2-BD59-A6C34878D82A}">
                      <a16:rowId xmlns:a16="http://schemas.microsoft.com/office/drawing/2014/main" val="990329583"/>
                    </a:ext>
                  </a:extLst>
                </a:tr>
                <a:tr h="287141">
                  <a:tc>
                    <a:txBody>
                      <a:bodyPr/>
                      <a:lstStyle/>
                      <a:p>
                        <a:pPr algn="l"/>
                        <a:r>
                          <a:rPr lang="en-US" sz="1100" dirty="0">
                            <a:solidFill>
                              <a:srgbClr val="000000"/>
                            </a:solidFill>
                            <a:latin typeface="+mn-lt"/>
                            <a:cs typeface="Arial" panose="020B0604020202020204" pitchFamily="34" charset="0"/>
                          </a:rPr>
                          <a:t>Kubota Corp.</a:t>
                        </a:r>
                      </a:p>
                    </a:txBody>
                    <a:tcPr anchor="ctr"/>
                  </a:tc>
                  <a:tc>
                    <a:txBody>
                      <a:bodyPr/>
                      <a:lstStyle/>
                      <a:p>
                        <a:pPr algn="ctr"/>
                        <a:r>
                          <a:rPr lang="en-US" sz="1100" dirty="0">
                            <a:solidFill>
                              <a:srgbClr val="000000"/>
                            </a:solidFill>
                            <a:latin typeface="+mn-lt"/>
                            <a:cs typeface="Arial" panose="020B0604020202020204" pitchFamily="34" charset="0"/>
                          </a:rPr>
                          <a:t>$1,617</a:t>
                        </a:r>
                      </a:p>
                    </a:txBody>
                    <a:tcPr anchor="ctr"/>
                  </a:tc>
                  <a:tc>
                    <a:txBody>
                      <a:bodyPr/>
                      <a:lstStyle/>
                      <a:p>
                        <a:pPr algn="ctr"/>
                        <a:r>
                          <a:rPr lang="en-US" sz="1100" dirty="0">
                            <a:solidFill>
                              <a:srgbClr val="000000"/>
                            </a:solidFill>
                            <a:latin typeface="+mn-lt"/>
                            <a:cs typeface="Arial" panose="020B0604020202020204" pitchFamily="34" charset="0"/>
                          </a:rPr>
                          <a:t>2</a:t>
                        </a:r>
                      </a:p>
                    </a:txBody>
                    <a:tcPr anchor="ctr"/>
                  </a:tc>
                  <a:extLst>
                    <a:ext uri="{0D108BD9-81ED-4DB2-BD59-A6C34878D82A}">
                      <a16:rowId xmlns:a16="http://schemas.microsoft.com/office/drawing/2014/main" val="2318660660"/>
                    </a:ext>
                  </a:extLst>
                </a:tr>
                <a:tr h="287141">
                  <a:tc>
                    <a:txBody>
                      <a:bodyPr/>
                      <a:lstStyle/>
                      <a:p>
                        <a:pPr algn="l"/>
                        <a:r>
                          <a:rPr lang="en-US" sz="1100" dirty="0">
                            <a:solidFill>
                              <a:srgbClr val="000000"/>
                            </a:solidFill>
                            <a:latin typeface="+mn-lt"/>
                            <a:cs typeface="Arial" panose="020B0604020202020204" pitchFamily="34" charset="0"/>
                          </a:rPr>
                          <a:t>Stonebriar Commercial Finance</a:t>
                        </a:r>
                      </a:p>
                    </a:txBody>
                    <a:tcPr anchor="ctr"/>
                  </a:tc>
                  <a:tc>
                    <a:txBody>
                      <a:bodyPr/>
                      <a:lstStyle/>
                      <a:p>
                        <a:pPr algn="ctr"/>
                        <a:r>
                          <a:rPr lang="en-US" sz="1100" dirty="0">
                            <a:solidFill>
                              <a:srgbClr val="000000"/>
                            </a:solidFill>
                            <a:latin typeface="+mn-lt"/>
                            <a:cs typeface="Arial" panose="020B0604020202020204" pitchFamily="34" charset="0"/>
                          </a:rPr>
                          <a:t>$1,335</a:t>
                        </a:r>
                      </a:p>
                    </a:txBody>
                    <a:tcPr anchor="ctr"/>
                  </a:tc>
                  <a:tc>
                    <a:txBody>
                      <a:bodyPr/>
                      <a:lstStyle/>
                      <a:p>
                        <a:pPr algn="ctr"/>
                        <a:r>
                          <a:rPr lang="en-US" sz="1100" dirty="0">
                            <a:solidFill>
                              <a:srgbClr val="000000"/>
                            </a:solidFill>
                            <a:latin typeface="+mn-lt"/>
                            <a:cs typeface="Arial" panose="020B0604020202020204" pitchFamily="34" charset="0"/>
                          </a:rPr>
                          <a:t>2</a:t>
                        </a:r>
                      </a:p>
                    </a:txBody>
                    <a:tcPr anchor="ctr"/>
                  </a:tc>
                  <a:extLst>
                    <a:ext uri="{0D108BD9-81ED-4DB2-BD59-A6C34878D82A}">
                      <a16:rowId xmlns:a16="http://schemas.microsoft.com/office/drawing/2014/main" val="1972346011"/>
                    </a:ext>
                  </a:extLst>
                </a:tr>
                <a:tr h="287141">
                  <a:tc>
                    <a:txBody>
                      <a:bodyPr/>
                      <a:lstStyle/>
                      <a:p>
                        <a:pPr algn="l"/>
                        <a:r>
                          <a:rPr lang="en-US" sz="1100" dirty="0">
                            <a:solidFill>
                              <a:srgbClr val="000000"/>
                            </a:solidFill>
                            <a:latin typeface="+mn-lt"/>
                            <a:cs typeface="Arial" panose="020B0604020202020204" pitchFamily="34" charset="0"/>
                          </a:rPr>
                          <a:t>Amur Finance</a:t>
                        </a:r>
                      </a:p>
                    </a:txBody>
                    <a:tcPr anchor="ctr"/>
                  </a:tc>
                  <a:tc>
                    <a:txBody>
                      <a:bodyPr/>
                      <a:lstStyle/>
                      <a:p>
                        <a:pPr algn="ctr"/>
                        <a:r>
                          <a:rPr lang="en-US" sz="1100" dirty="0">
                            <a:solidFill>
                              <a:srgbClr val="000000"/>
                            </a:solidFill>
                            <a:latin typeface="+mn-lt"/>
                            <a:cs typeface="Arial" panose="020B0604020202020204" pitchFamily="34" charset="0"/>
                          </a:rPr>
                          <a:t>$944</a:t>
                        </a:r>
                      </a:p>
                    </a:txBody>
                    <a:tcPr anchor="ctr"/>
                  </a:tc>
                  <a:tc>
                    <a:txBody>
                      <a:bodyPr/>
                      <a:lstStyle/>
                      <a:p>
                        <a:pPr algn="ctr"/>
                        <a:r>
                          <a:rPr lang="en-US" sz="1100" dirty="0">
                            <a:solidFill>
                              <a:srgbClr val="000000"/>
                            </a:solidFill>
                            <a:latin typeface="+mn-lt"/>
                            <a:cs typeface="Arial" panose="020B0604020202020204" pitchFamily="34" charset="0"/>
                          </a:rPr>
                          <a:t>1</a:t>
                        </a:r>
                      </a:p>
                    </a:txBody>
                    <a:tcPr anchor="ctr"/>
                  </a:tc>
                  <a:extLst>
                    <a:ext uri="{0D108BD9-81ED-4DB2-BD59-A6C34878D82A}">
                      <a16:rowId xmlns:a16="http://schemas.microsoft.com/office/drawing/2014/main" val="907419605"/>
                    </a:ext>
                  </a:extLst>
                </a:tr>
                <a:tr h="287141">
                  <a:tc>
                    <a:txBody>
                      <a:bodyPr/>
                      <a:lstStyle/>
                      <a:p>
                        <a:pPr algn="l"/>
                        <a:r>
                          <a:rPr lang="en-US" sz="1100" dirty="0" err="1">
                            <a:solidFill>
                              <a:srgbClr val="000000"/>
                            </a:solidFill>
                            <a:latin typeface="+mn-lt"/>
                            <a:cs typeface="Arial" panose="020B0604020202020204" pitchFamily="34" charset="0"/>
                          </a:rPr>
                          <a:t>Rabo</a:t>
                        </a:r>
                        <a:r>
                          <a:rPr lang="en-US" sz="1100" dirty="0">
                            <a:solidFill>
                              <a:srgbClr val="000000"/>
                            </a:solidFill>
                            <a:latin typeface="+mn-lt"/>
                            <a:cs typeface="Arial" panose="020B0604020202020204" pitchFamily="34" charset="0"/>
                          </a:rPr>
                          <a:t> Bank (DLL)</a:t>
                        </a:r>
                      </a:p>
                    </a:txBody>
                    <a:tcPr anchor="ctr"/>
                  </a:tc>
                  <a:tc>
                    <a:txBody>
                      <a:bodyPr/>
                      <a:lstStyle/>
                      <a:p>
                        <a:pPr algn="ctr"/>
                        <a:r>
                          <a:rPr lang="en-US" sz="1100" dirty="0">
                            <a:solidFill>
                              <a:srgbClr val="000000"/>
                            </a:solidFill>
                            <a:latin typeface="+mn-lt"/>
                            <a:cs typeface="Arial" panose="020B0604020202020204" pitchFamily="34" charset="0"/>
                          </a:rPr>
                          <a:t>$837</a:t>
                        </a:r>
                      </a:p>
                    </a:txBody>
                    <a:tcPr anchor="ctr"/>
                  </a:tc>
                  <a:tc>
                    <a:txBody>
                      <a:bodyPr/>
                      <a:lstStyle/>
                      <a:p>
                        <a:pPr algn="ctr"/>
                        <a:r>
                          <a:rPr lang="en-US" sz="1100" dirty="0">
                            <a:solidFill>
                              <a:srgbClr val="000000"/>
                            </a:solidFill>
                            <a:latin typeface="+mn-lt"/>
                            <a:cs typeface="Arial" panose="020B0604020202020204" pitchFamily="34" charset="0"/>
                          </a:rPr>
                          <a:t>1</a:t>
                        </a:r>
                      </a:p>
                    </a:txBody>
                    <a:tcPr anchor="ctr"/>
                  </a:tc>
                  <a:extLst>
                    <a:ext uri="{0D108BD9-81ED-4DB2-BD59-A6C34878D82A}">
                      <a16:rowId xmlns:a16="http://schemas.microsoft.com/office/drawing/2014/main" val="4211983876"/>
                    </a:ext>
                  </a:extLst>
                </a:tr>
                <a:tr h="287141">
                  <a:tc>
                    <a:txBody>
                      <a:bodyPr/>
                      <a:lstStyle/>
                      <a:p>
                        <a:pPr algn="l"/>
                        <a:r>
                          <a:rPr lang="en-US" sz="1100" dirty="0">
                            <a:solidFill>
                              <a:srgbClr val="000000"/>
                            </a:solidFill>
                            <a:latin typeface="+mn-lt"/>
                            <a:cs typeface="Arial" panose="020B0604020202020204" pitchFamily="34" charset="0"/>
                          </a:rPr>
                          <a:t>Daimler Truck AG</a:t>
                        </a:r>
                      </a:p>
                    </a:txBody>
                    <a:tcPr anchor="ctr"/>
                  </a:tc>
                  <a:tc>
                    <a:txBody>
                      <a:bodyPr/>
                      <a:lstStyle/>
                      <a:p>
                        <a:pPr algn="ctr"/>
                        <a:r>
                          <a:rPr lang="en-US" sz="1100" dirty="0">
                            <a:solidFill>
                              <a:srgbClr val="000000"/>
                            </a:solidFill>
                            <a:latin typeface="+mn-lt"/>
                            <a:cs typeface="Arial" panose="020B0604020202020204" pitchFamily="34" charset="0"/>
                          </a:rPr>
                          <a:t>$800</a:t>
                        </a:r>
                      </a:p>
                    </a:txBody>
                    <a:tcPr anchor="ctr"/>
                  </a:tc>
                  <a:tc>
                    <a:txBody>
                      <a:bodyPr/>
                      <a:lstStyle/>
                      <a:p>
                        <a:pPr algn="ctr"/>
                        <a:r>
                          <a:rPr lang="en-US" sz="1100" dirty="0">
                            <a:solidFill>
                              <a:srgbClr val="000000"/>
                            </a:solidFill>
                            <a:latin typeface="+mn-lt"/>
                            <a:cs typeface="Arial" panose="020B0604020202020204" pitchFamily="34" charset="0"/>
                          </a:rPr>
                          <a:t>1</a:t>
                        </a:r>
                      </a:p>
                    </a:txBody>
                    <a:tcPr anchor="ctr"/>
                  </a:tc>
                  <a:extLst>
                    <a:ext uri="{0D108BD9-81ED-4DB2-BD59-A6C34878D82A}">
                      <a16:rowId xmlns:a16="http://schemas.microsoft.com/office/drawing/2014/main" val="1847449068"/>
                    </a:ext>
                  </a:extLst>
                </a:tr>
              </a:tbl>
            </a:graphicData>
          </a:graphic>
        </p:graphicFrame>
        <p:sp>
          <p:nvSpPr>
            <p:cNvPr id="5" name="TextBox 4">
              <a:extLst>
                <a:ext uri="{FF2B5EF4-FFF2-40B4-BE49-F238E27FC236}">
                  <a16:creationId xmlns:a16="http://schemas.microsoft.com/office/drawing/2014/main" id="{A6998D8E-C62D-E5C6-6DF1-88256CD73F99}"/>
                </a:ext>
              </a:extLst>
            </p:cNvPr>
            <p:cNvSpPr txBox="1"/>
            <p:nvPr/>
          </p:nvSpPr>
          <p:spPr>
            <a:xfrm>
              <a:off x="5514905" y="4236820"/>
              <a:ext cx="778116" cy="204311"/>
            </a:xfrm>
            <a:prstGeom prst="roundRect">
              <a:avLst/>
            </a:prstGeom>
            <a:noFill/>
          </p:spPr>
          <p:txBody>
            <a:bodyPr wrap="none" rtlCol="0">
              <a:spAutoFit/>
            </a:bodyPr>
            <a:lstStyle/>
            <a:p>
              <a:r>
                <a:rPr lang="en-US" sz="600" i="1" dirty="0">
                  <a:solidFill>
                    <a:srgbClr val="000000"/>
                  </a:solidFill>
                  <a:latin typeface="Arial" panose="020B0604020202020204" pitchFamily="34" charset="0"/>
                  <a:cs typeface="Arial" panose="020B0604020202020204" pitchFamily="34" charset="0"/>
                </a:rPr>
                <a:t>Source: </a:t>
              </a:r>
              <a:r>
                <a:rPr lang="en-US" sz="600" i="1" dirty="0" err="1">
                  <a:solidFill>
                    <a:srgbClr val="000000"/>
                  </a:solidFill>
                  <a:latin typeface="Arial" panose="020B0604020202020204" pitchFamily="34" charset="0"/>
                  <a:cs typeface="Arial" panose="020B0604020202020204" pitchFamily="34" charset="0"/>
                </a:rPr>
                <a:t>Finsight</a:t>
              </a:r>
              <a:r>
                <a:rPr lang="en-US" sz="600" i="1"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endParaRPr lang="en-US" sz="600" i="1" dirty="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532534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5B10AC9-9457-E43E-20A1-4CD8B1A77DE2}"/>
              </a:ext>
            </a:extLst>
          </p:cNvPr>
          <p:cNvSpPr>
            <a:spLocks noGrp="1"/>
          </p:cNvSpPr>
          <p:nvPr>
            <p:ph idx="1"/>
          </p:nvPr>
        </p:nvSpPr>
        <p:spPr>
          <a:xfrm>
            <a:off x="365760" y="617220"/>
            <a:ext cx="8595360" cy="498348"/>
          </a:xfrm>
        </p:spPr>
        <p:txBody>
          <a:bodyPr/>
          <a:lstStyle/>
          <a:p>
            <a:pPr marL="0" indent="0">
              <a:buNone/>
            </a:pPr>
            <a:r>
              <a:rPr lang="en-US" sz="1400" b="1" dirty="0"/>
              <a:t>Syndication is a sale and/or assignment of all or part of an underlying transaction to a third party or a group of third parties. </a:t>
            </a:r>
            <a:endParaRPr lang="en-US" sz="1400" dirty="0"/>
          </a:p>
        </p:txBody>
      </p:sp>
      <p:sp>
        <p:nvSpPr>
          <p:cNvPr id="3" name="Title 2">
            <a:extLst>
              <a:ext uri="{FF2B5EF4-FFF2-40B4-BE49-F238E27FC236}">
                <a16:creationId xmlns:a16="http://schemas.microsoft.com/office/drawing/2014/main" id="{C2F609DB-B5A6-3631-6634-E3937A752E6D}"/>
              </a:ext>
            </a:extLst>
          </p:cNvPr>
          <p:cNvSpPr>
            <a:spLocks noGrp="1"/>
          </p:cNvSpPr>
          <p:nvPr>
            <p:ph type="title"/>
          </p:nvPr>
        </p:nvSpPr>
        <p:spPr>
          <a:xfrm>
            <a:off x="466809" y="150906"/>
            <a:ext cx="7886700" cy="994172"/>
          </a:xfrm>
        </p:spPr>
        <p:txBody>
          <a:bodyPr>
            <a:normAutofit fontScale="90000"/>
          </a:bodyPr>
          <a:lstStyle/>
          <a:p>
            <a:r>
              <a:rPr lang="en-US" dirty="0">
                <a:solidFill>
                  <a:srgbClr val="002060"/>
                </a:solidFill>
              </a:rPr>
              <a:t>Syndication Is Another Important Capital Market Funding Tool </a:t>
            </a:r>
          </a:p>
        </p:txBody>
      </p:sp>
      <p:graphicFrame>
        <p:nvGraphicFramePr>
          <p:cNvPr id="4" name="Diagram 3">
            <a:extLst>
              <a:ext uri="{FF2B5EF4-FFF2-40B4-BE49-F238E27FC236}">
                <a16:creationId xmlns:a16="http://schemas.microsoft.com/office/drawing/2014/main" id="{A2ECFAED-573B-233A-3279-3825FEFC0406}"/>
              </a:ext>
            </a:extLst>
          </p:cNvPr>
          <p:cNvGraphicFramePr/>
          <p:nvPr>
            <p:extLst>
              <p:ext uri="{D42A27DB-BD31-4B8C-83A1-F6EECF244321}">
                <p14:modId xmlns:p14="http://schemas.microsoft.com/office/powerpoint/2010/main" val="2471711690"/>
              </p:ext>
            </p:extLst>
          </p:nvPr>
        </p:nvGraphicFramePr>
        <p:xfrm>
          <a:off x="357080" y="1002414"/>
          <a:ext cx="8229599"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610577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DF1B218-1BBD-F165-2782-D631C4BEC3B0}"/>
              </a:ext>
            </a:extLst>
          </p:cNvPr>
          <p:cNvSpPr>
            <a:spLocks noGrp="1"/>
          </p:cNvSpPr>
          <p:nvPr>
            <p:ph idx="1"/>
          </p:nvPr>
        </p:nvSpPr>
        <p:spPr>
          <a:xfrm>
            <a:off x="2071962" y="97981"/>
            <a:ext cx="6962982" cy="2876815"/>
          </a:xfrm>
        </p:spPr>
        <p:txBody>
          <a:bodyPr/>
          <a:lstStyle/>
          <a:p>
            <a:pPr marL="0" lvl="0" indent="0" defTabSz="914400">
              <a:buNone/>
            </a:pPr>
            <a:r>
              <a:rPr lang="en-US" sz="1800" b="1" dirty="0">
                <a:solidFill>
                  <a:schemeClr val="accent2">
                    <a:lumMod val="75000"/>
                  </a:schemeClr>
                </a:solidFill>
                <a:cs typeface="Arial" panose="020B0604020202020204" pitchFamily="34" charset="0"/>
              </a:rPr>
              <a:t>ABC Bank Lessor originated an $80 million lease for 1,800 railcars. The credit committee approves a “hold position” of $50 million for this customer which means that it will syndicate the remaining $30 million to third party investors.</a:t>
            </a:r>
          </a:p>
          <a:p>
            <a:pPr marL="0" indent="0">
              <a:buNone/>
            </a:pPr>
            <a:endParaRPr lang="en-US" dirty="0"/>
          </a:p>
        </p:txBody>
      </p:sp>
      <p:sp>
        <p:nvSpPr>
          <p:cNvPr id="5" name="Title 4">
            <a:extLst>
              <a:ext uri="{FF2B5EF4-FFF2-40B4-BE49-F238E27FC236}">
                <a16:creationId xmlns:a16="http://schemas.microsoft.com/office/drawing/2014/main" id="{3A5C2F09-B94C-7085-CAC0-E1B90B878D1A}"/>
              </a:ext>
            </a:extLst>
          </p:cNvPr>
          <p:cNvSpPr>
            <a:spLocks noGrp="1"/>
          </p:cNvSpPr>
          <p:nvPr>
            <p:ph type="title"/>
          </p:nvPr>
        </p:nvSpPr>
        <p:spPr>
          <a:xfrm>
            <a:off x="-2004" y="490231"/>
            <a:ext cx="2436132" cy="244197"/>
          </a:xfrm>
        </p:spPr>
        <p:txBody>
          <a:bodyPr>
            <a:normAutofit fontScale="90000"/>
          </a:bodyPr>
          <a:lstStyle/>
          <a:p>
            <a:r>
              <a:rPr lang="en-US" b="1" dirty="0">
                <a:solidFill>
                  <a:schemeClr val="accent2">
                    <a:lumMod val="75000"/>
                  </a:schemeClr>
                </a:solidFill>
              </a:rPr>
              <a:t>Example of Syndication :</a:t>
            </a:r>
          </a:p>
        </p:txBody>
      </p:sp>
      <p:grpSp>
        <p:nvGrpSpPr>
          <p:cNvPr id="7" name="Group 6">
            <a:extLst>
              <a:ext uri="{FF2B5EF4-FFF2-40B4-BE49-F238E27FC236}">
                <a16:creationId xmlns:a16="http://schemas.microsoft.com/office/drawing/2014/main" id="{0D3DD9A1-4D07-DA41-7500-1F29FCFA1184}"/>
              </a:ext>
            </a:extLst>
          </p:cNvPr>
          <p:cNvGrpSpPr/>
          <p:nvPr/>
        </p:nvGrpSpPr>
        <p:grpSpPr>
          <a:xfrm>
            <a:off x="465952" y="3543755"/>
            <a:ext cx="7566605" cy="1122251"/>
            <a:chOff x="355450" y="5243757"/>
            <a:chExt cx="9983643" cy="1496333"/>
          </a:xfrm>
        </p:grpSpPr>
        <p:grpSp>
          <p:nvGrpSpPr>
            <p:cNvPr id="8" name="Group 7">
              <a:extLst>
                <a:ext uri="{FF2B5EF4-FFF2-40B4-BE49-F238E27FC236}">
                  <a16:creationId xmlns:a16="http://schemas.microsoft.com/office/drawing/2014/main" id="{167D31FE-727E-4A5A-225F-8E586B31A3DC}"/>
                </a:ext>
              </a:extLst>
            </p:cNvPr>
            <p:cNvGrpSpPr/>
            <p:nvPr/>
          </p:nvGrpSpPr>
          <p:grpSpPr>
            <a:xfrm>
              <a:off x="1018945" y="5243757"/>
              <a:ext cx="9320148" cy="1496333"/>
              <a:chOff x="3432208" y="1346658"/>
              <a:chExt cx="4542982" cy="1573753"/>
            </a:xfrm>
          </p:grpSpPr>
          <p:sp>
            <p:nvSpPr>
              <p:cNvPr id="10" name="Rectangle 9">
                <a:extLst>
                  <a:ext uri="{FF2B5EF4-FFF2-40B4-BE49-F238E27FC236}">
                    <a16:creationId xmlns:a16="http://schemas.microsoft.com/office/drawing/2014/main" id="{294B9F55-1927-23DA-7A72-71054D985F52}"/>
                  </a:ext>
                </a:extLst>
              </p:cNvPr>
              <p:cNvSpPr/>
              <p:nvPr>
                <p:custDataLst>
                  <p:tags r:id="rId3"/>
                </p:custDataLst>
              </p:nvPr>
            </p:nvSpPr>
            <p:spPr>
              <a:xfrm>
                <a:off x="3432208" y="1366648"/>
                <a:ext cx="4542982" cy="1553763"/>
              </a:xfrm>
              <a:prstGeom prst="rect">
                <a:avLst/>
              </a:prstGeom>
            </p:spPr>
            <p:txBody>
              <a:bodyPr wrap="square">
                <a:spAutoFit/>
              </a:bodyPr>
              <a:lstStyle/>
              <a:p>
                <a:pPr marL="274320" lvl="2" indent="-163116">
                  <a:spcBef>
                    <a:spcPts val="600"/>
                  </a:spcBef>
                  <a:buFont typeface="Arial" panose="020B0604020202020204" pitchFamily="34" charset="0"/>
                  <a:buChar char="•"/>
                </a:pPr>
                <a:endParaRPr lang="en-US" sz="1400" dirty="0">
                  <a:solidFill>
                    <a:schemeClr val="bg2">
                      <a:lumMod val="25000"/>
                    </a:schemeClr>
                  </a:solidFill>
                  <a:cs typeface="Arial" panose="020B0604020202020204" pitchFamily="34" charset="0"/>
                </a:endParaRPr>
              </a:p>
              <a:p>
                <a:pPr marL="274320" lvl="2" indent="-163116">
                  <a:spcBef>
                    <a:spcPts val="600"/>
                  </a:spcBef>
                  <a:buFont typeface="Arial" panose="020B0604020202020204" pitchFamily="34" charset="0"/>
                  <a:buChar char="•"/>
                </a:pPr>
                <a:r>
                  <a:rPr lang="en-US" sz="1400" dirty="0">
                    <a:solidFill>
                      <a:schemeClr val="bg2">
                        <a:lumMod val="25000"/>
                      </a:schemeClr>
                    </a:solidFill>
                    <a:cs typeface="Arial" panose="020B0604020202020204" pitchFamily="34" charset="0"/>
                  </a:rPr>
                  <a:t>Investor is allocated specific assets tied to the same lease.</a:t>
                </a:r>
              </a:p>
              <a:p>
                <a:pPr marL="274320" lvl="2" indent="-163116">
                  <a:spcBef>
                    <a:spcPts val="600"/>
                  </a:spcBef>
                  <a:buFont typeface="Arial" panose="020B0604020202020204" pitchFamily="34" charset="0"/>
                  <a:buChar char="•"/>
                </a:pPr>
                <a:r>
                  <a:rPr lang="en-US" sz="1400" dirty="0">
                    <a:solidFill>
                      <a:schemeClr val="bg2">
                        <a:lumMod val="25000"/>
                      </a:schemeClr>
                    </a:solidFill>
                    <a:cs typeface="Arial" panose="020B0604020202020204" pitchFamily="34" charset="0"/>
                  </a:rPr>
                  <a:t>When the financing is for one large piece of equipment that can’t be divided such as a jumbo jet, the allocation is made by a Participation Agreement.</a:t>
                </a:r>
              </a:p>
            </p:txBody>
          </p:sp>
          <p:sp>
            <p:nvSpPr>
              <p:cNvPr id="11" name="Rectangle 10">
                <a:extLst>
                  <a:ext uri="{FF2B5EF4-FFF2-40B4-BE49-F238E27FC236}">
                    <a16:creationId xmlns:a16="http://schemas.microsoft.com/office/drawing/2014/main" id="{A4661099-358B-2631-F8FE-EB0722DFFF7B}"/>
                  </a:ext>
                </a:extLst>
              </p:cNvPr>
              <p:cNvSpPr/>
              <p:nvPr/>
            </p:nvSpPr>
            <p:spPr>
              <a:xfrm>
                <a:off x="3549519" y="1346658"/>
                <a:ext cx="2469843" cy="474760"/>
              </a:xfrm>
              <a:prstGeom prst="rect">
                <a:avLst/>
              </a:prstGeom>
            </p:spPr>
            <p:txBody>
              <a:bodyPr wrap="none">
                <a:spAutoFit/>
              </a:bodyPr>
              <a:lstStyle/>
              <a:p>
                <a:r>
                  <a:rPr lang="en-US" sz="1600" b="1" dirty="0">
                    <a:solidFill>
                      <a:schemeClr val="bg2"/>
                    </a:solidFill>
                    <a:cs typeface="Arial" panose="020B0604020202020204" pitchFamily="34" charset="0"/>
                  </a:rPr>
                  <a:t>ALLOCATION TO THIRD PARTY INVESTOR(S)</a:t>
                </a:r>
                <a:endParaRPr lang="en-US" sz="1600" b="1" cap="all" dirty="0">
                  <a:solidFill>
                    <a:schemeClr val="bg2"/>
                  </a:solidFill>
                  <a:cs typeface="Arial" panose="020B0604020202020204" pitchFamily="34" charset="0"/>
                </a:endParaRPr>
              </a:p>
            </p:txBody>
          </p:sp>
        </p:grpSp>
        <p:sp>
          <p:nvSpPr>
            <p:cNvPr id="9" name="Flowchart: Connector 8">
              <a:extLst>
                <a:ext uri="{FF2B5EF4-FFF2-40B4-BE49-F238E27FC236}">
                  <a16:creationId xmlns:a16="http://schemas.microsoft.com/office/drawing/2014/main" id="{AF57F52F-BDE6-82C8-F58A-4399A68E0307}"/>
                </a:ext>
              </a:extLst>
            </p:cNvPr>
            <p:cNvSpPr>
              <a:spLocks/>
            </p:cNvSpPr>
            <p:nvPr/>
          </p:nvSpPr>
          <p:spPr>
            <a:xfrm rot="5400000">
              <a:off x="351638" y="5302597"/>
              <a:ext cx="731520" cy="723895"/>
            </a:xfrm>
            <a:prstGeom prst="flowChartConnector">
              <a:avLst/>
            </a:prstGeom>
            <a:solidFill>
              <a:srgbClr val="44546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grpSp>
      <p:grpSp>
        <p:nvGrpSpPr>
          <p:cNvPr id="12" name="Group 11">
            <a:extLst>
              <a:ext uri="{FF2B5EF4-FFF2-40B4-BE49-F238E27FC236}">
                <a16:creationId xmlns:a16="http://schemas.microsoft.com/office/drawing/2014/main" id="{FF8C091F-69C8-1E1A-302E-9660FCC88CE8}"/>
              </a:ext>
            </a:extLst>
          </p:cNvPr>
          <p:cNvGrpSpPr/>
          <p:nvPr/>
        </p:nvGrpSpPr>
        <p:grpSpPr>
          <a:xfrm>
            <a:off x="465952" y="1187166"/>
            <a:ext cx="7075750" cy="1140960"/>
            <a:chOff x="327876" y="2570611"/>
            <a:chExt cx="9189750" cy="1521281"/>
          </a:xfrm>
        </p:grpSpPr>
        <p:sp>
          <p:nvSpPr>
            <p:cNvPr id="13" name="Rectangle 12">
              <a:extLst>
                <a:ext uri="{FF2B5EF4-FFF2-40B4-BE49-F238E27FC236}">
                  <a16:creationId xmlns:a16="http://schemas.microsoft.com/office/drawing/2014/main" id="{16AF78C8-1D7C-B6B4-B0A7-9E4754A3B8B1}"/>
                </a:ext>
              </a:extLst>
            </p:cNvPr>
            <p:cNvSpPr/>
            <p:nvPr>
              <p:custDataLst>
                <p:tags r:id="rId2"/>
              </p:custDataLst>
            </p:nvPr>
          </p:nvSpPr>
          <p:spPr>
            <a:xfrm>
              <a:off x="1121343" y="2901822"/>
              <a:ext cx="7786298" cy="1190070"/>
            </a:xfrm>
            <a:prstGeom prst="rect">
              <a:avLst/>
            </a:prstGeom>
            <a:noFill/>
            <a:ln>
              <a:noFill/>
            </a:ln>
          </p:spPr>
          <p:txBody>
            <a:bodyPr wrap="square">
              <a:spAutoFit/>
            </a:bodyPr>
            <a:lstStyle/>
            <a:p>
              <a:pPr marL="205740" lvl="2" indent="-169069">
                <a:spcBef>
                  <a:spcPts val="600"/>
                </a:spcBef>
                <a:buFont typeface="Arial" panose="020B0604020202020204" pitchFamily="34" charset="0"/>
                <a:buChar char="•"/>
              </a:pPr>
              <a:r>
                <a:rPr lang="en-US" sz="1400" dirty="0">
                  <a:solidFill>
                    <a:schemeClr val="bg2">
                      <a:lumMod val="25000"/>
                    </a:schemeClr>
                  </a:solidFill>
                  <a:cs typeface="Arial" panose="020B0604020202020204" pitchFamily="34" charset="0"/>
                </a:rPr>
                <a:t>Work with a single equipment finance and leasing firm to fund the railcars.</a:t>
              </a:r>
            </a:p>
            <a:p>
              <a:pPr marL="205740" lvl="2" indent="-169069">
                <a:spcBef>
                  <a:spcPts val="600"/>
                </a:spcBef>
                <a:buFont typeface="Arial" panose="020B0604020202020204" pitchFamily="34" charset="0"/>
                <a:buChar char="•"/>
              </a:pPr>
              <a:r>
                <a:rPr lang="en-US" sz="1400" dirty="0">
                  <a:solidFill>
                    <a:schemeClr val="bg2">
                      <a:lumMod val="25000"/>
                    </a:schemeClr>
                  </a:solidFill>
                  <a:cs typeface="Arial" panose="020B0604020202020204" pitchFamily="34" charset="0"/>
                </a:rPr>
                <a:t>Negotiate one set of documents.</a:t>
              </a:r>
            </a:p>
            <a:p>
              <a:pPr marL="205740" lvl="2" indent="-169069">
                <a:spcBef>
                  <a:spcPts val="600"/>
                </a:spcBef>
                <a:buFont typeface="Arial" panose="020B0604020202020204" pitchFamily="34" charset="0"/>
                <a:buChar char="•"/>
              </a:pPr>
              <a:r>
                <a:rPr lang="en-US" sz="1400" dirty="0">
                  <a:solidFill>
                    <a:schemeClr val="bg2">
                      <a:lumMod val="25000"/>
                    </a:schemeClr>
                  </a:solidFill>
                  <a:cs typeface="Arial" panose="020B0604020202020204" pitchFamily="34" charset="0"/>
                </a:rPr>
                <a:t>Deal with one servicer. </a:t>
              </a:r>
            </a:p>
          </p:txBody>
        </p:sp>
        <p:sp>
          <p:nvSpPr>
            <p:cNvPr id="14" name="Rectangle 13">
              <a:extLst>
                <a:ext uri="{FF2B5EF4-FFF2-40B4-BE49-F238E27FC236}">
                  <a16:creationId xmlns:a16="http://schemas.microsoft.com/office/drawing/2014/main" id="{838FF9A5-7856-84B0-D6AC-1CA12E8989D9}"/>
                </a:ext>
              </a:extLst>
            </p:cNvPr>
            <p:cNvSpPr/>
            <p:nvPr/>
          </p:nvSpPr>
          <p:spPr>
            <a:xfrm>
              <a:off x="1302094" y="2570611"/>
              <a:ext cx="8215532" cy="451406"/>
            </a:xfrm>
            <a:prstGeom prst="rect">
              <a:avLst/>
            </a:prstGeom>
          </p:spPr>
          <p:txBody>
            <a:bodyPr wrap="square">
              <a:spAutoFit/>
            </a:bodyPr>
            <a:lstStyle/>
            <a:p>
              <a:r>
                <a:rPr lang="en-US" sz="1600" b="1" cap="all" dirty="0">
                  <a:solidFill>
                    <a:schemeClr val="bg2"/>
                  </a:solidFill>
                  <a:cs typeface="Arial" panose="020B0604020202020204" pitchFamily="34" charset="0"/>
                </a:rPr>
                <a:t>Benefits to the CUSTOMER</a:t>
              </a:r>
              <a:endParaRPr lang="en-US" sz="1600" b="1" i="1" cap="all" dirty="0">
                <a:solidFill>
                  <a:schemeClr val="bg2"/>
                </a:solidFill>
                <a:cs typeface="Arial" panose="020B0604020202020204" pitchFamily="34" charset="0"/>
              </a:endParaRPr>
            </a:p>
          </p:txBody>
        </p:sp>
        <p:sp>
          <p:nvSpPr>
            <p:cNvPr id="15" name="Flowchart: Connector 14">
              <a:extLst>
                <a:ext uri="{FF2B5EF4-FFF2-40B4-BE49-F238E27FC236}">
                  <a16:creationId xmlns:a16="http://schemas.microsoft.com/office/drawing/2014/main" id="{0A4E483C-3ED9-6440-3A5B-9292588B87C4}"/>
                </a:ext>
              </a:extLst>
            </p:cNvPr>
            <p:cNvSpPr>
              <a:spLocks noChangeAspect="1"/>
            </p:cNvSpPr>
            <p:nvPr/>
          </p:nvSpPr>
          <p:spPr>
            <a:xfrm rot="5400000">
              <a:off x="318394" y="2736806"/>
              <a:ext cx="731520" cy="712556"/>
            </a:xfrm>
            <a:prstGeom prst="flowChartConnector">
              <a:avLst/>
            </a:prstGeom>
            <a:solidFill>
              <a:srgbClr val="44546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0C3E468D-A344-44F1-808F-2C389F17B27D}"/>
              </a:ext>
            </a:extLst>
          </p:cNvPr>
          <p:cNvGrpSpPr/>
          <p:nvPr/>
        </p:nvGrpSpPr>
        <p:grpSpPr>
          <a:xfrm>
            <a:off x="465952" y="2438714"/>
            <a:ext cx="7273923" cy="1184940"/>
            <a:chOff x="313222" y="4113591"/>
            <a:chExt cx="9641335" cy="1579921"/>
          </a:xfrm>
        </p:grpSpPr>
        <p:sp>
          <p:nvSpPr>
            <p:cNvPr id="20" name="Rectangle 19">
              <a:extLst>
                <a:ext uri="{FF2B5EF4-FFF2-40B4-BE49-F238E27FC236}">
                  <a16:creationId xmlns:a16="http://schemas.microsoft.com/office/drawing/2014/main" id="{247CA8F8-CE79-1F57-5B1A-63F5BE7C959A}"/>
                </a:ext>
              </a:extLst>
            </p:cNvPr>
            <p:cNvSpPr/>
            <p:nvPr>
              <p:custDataLst>
                <p:tags r:id="rId1"/>
              </p:custDataLst>
            </p:nvPr>
          </p:nvSpPr>
          <p:spPr>
            <a:xfrm>
              <a:off x="1088045" y="4113591"/>
              <a:ext cx="8866512" cy="1579921"/>
            </a:xfrm>
            <a:prstGeom prst="rect">
              <a:avLst/>
            </a:prstGeom>
          </p:spPr>
          <p:txBody>
            <a:bodyPr wrap="square">
              <a:spAutoFit/>
            </a:bodyPr>
            <a:lstStyle/>
            <a:p>
              <a:pPr marL="205740" lvl="2" indent="-163116">
                <a:spcBef>
                  <a:spcPts val="600"/>
                </a:spcBef>
                <a:buFont typeface="Arial" panose="020B0604020202020204" pitchFamily="34" charset="0"/>
                <a:buChar char="•"/>
              </a:pPr>
              <a:endParaRPr lang="en-US" sz="1400" dirty="0">
                <a:solidFill>
                  <a:schemeClr val="bg2">
                    <a:lumMod val="25000"/>
                  </a:schemeClr>
                </a:solidFill>
                <a:cs typeface="Arial" panose="020B0604020202020204" pitchFamily="34" charset="0"/>
              </a:endParaRPr>
            </a:p>
            <a:p>
              <a:pPr marL="205740" lvl="2" indent="-163116">
                <a:spcBef>
                  <a:spcPts val="600"/>
                </a:spcBef>
                <a:buFont typeface="Arial" panose="020B0604020202020204" pitchFamily="34" charset="0"/>
                <a:buChar char="•"/>
              </a:pPr>
              <a:r>
                <a:rPr lang="en-US" sz="1400" dirty="0">
                  <a:solidFill>
                    <a:schemeClr val="bg2">
                      <a:lumMod val="25000"/>
                    </a:schemeClr>
                  </a:solidFill>
                  <a:cs typeface="Arial" panose="020B0604020202020204" pitchFamily="34" charset="0"/>
                </a:rPr>
                <a:t>Manage the credit exposure within hold limits.</a:t>
              </a:r>
            </a:p>
            <a:p>
              <a:pPr marL="205740" lvl="2" indent="-163116">
                <a:spcBef>
                  <a:spcPts val="600"/>
                </a:spcBef>
                <a:buFont typeface="Arial" panose="020B0604020202020204" pitchFamily="34" charset="0"/>
                <a:buChar char="•"/>
              </a:pPr>
              <a:r>
                <a:rPr lang="en-US" sz="1400" dirty="0">
                  <a:solidFill>
                    <a:schemeClr val="bg2">
                      <a:lumMod val="25000"/>
                    </a:schemeClr>
                  </a:solidFill>
                  <a:cs typeface="Arial" panose="020B0604020202020204" pitchFamily="34" charset="0"/>
                </a:rPr>
                <a:t>Earn fee income. </a:t>
              </a:r>
            </a:p>
            <a:p>
              <a:pPr marL="205740" lvl="2" indent="-163116">
                <a:spcBef>
                  <a:spcPts val="600"/>
                </a:spcBef>
                <a:buFont typeface="Arial" panose="020B0604020202020204" pitchFamily="34" charset="0"/>
                <a:buChar char="•"/>
              </a:pPr>
              <a:r>
                <a:rPr lang="en-US" sz="1400" dirty="0">
                  <a:solidFill>
                    <a:schemeClr val="bg2">
                      <a:lumMod val="25000"/>
                    </a:schemeClr>
                  </a:solidFill>
                  <a:cs typeface="Arial" panose="020B0604020202020204" pitchFamily="34" charset="0"/>
                </a:rPr>
                <a:t>Retain client relationship.</a:t>
              </a:r>
            </a:p>
          </p:txBody>
        </p:sp>
        <p:sp>
          <p:nvSpPr>
            <p:cNvPr id="21" name="Rectangle 20">
              <a:extLst>
                <a:ext uri="{FF2B5EF4-FFF2-40B4-BE49-F238E27FC236}">
                  <a16:creationId xmlns:a16="http://schemas.microsoft.com/office/drawing/2014/main" id="{12442A7B-128F-B807-37DF-58C27D1BFECD}"/>
                </a:ext>
              </a:extLst>
            </p:cNvPr>
            <p:cNvSpPr/>
            <p:nvPr/>
          </p:nvSpPr>
          <p:spPr>
            <a:xfrm>
              <a:off x="1161264" y="4132596"/>
              <a:ext cx="5878606" cy="451404"/>
            </a:xfrm>
            <a:prstGeom prst="rect">
              <a:avLst/>
            </a:prstGeom>
          </p:spPr>
          <p:txBody>
            <a:bodyPr wrap="none">
              <a:spAutoFit/>
            </a:bodyPr>
            <a:lstStyle/>
            <a:p>
              <a:r>
                <a:rPr lang="en-US" sz="1600" b="1" dirty="0">
                  <a:solidFill>
                    <a:schemeClr val="bg2"/>
                  </a:solidFill>
                  <a:cs typeface="Arial" panose="020B0604020202020204" pitchFamily="34" charset="0"/>
                </a:rPr>
                <a:t>BENEFITS TO ABC BANK LESSOR, THE SYNDICATOR</a:t>
              </a:r>
              <a:endParaRPr lang="en-US" sz="1600" b="1" cap="all" dirty="0">
                <a:solidFill>
                  <a:schemeClr val="bg2"/>
                </a:solidFill>
                <a:cs typeface="Arial" panose="020B0604020202020204" pitchFamily="34" charset="0"/>
              </a:endParaRPr>
            </a:p>
          </p:txBody>
        </p:sp>
        <p:sp>
          <p:nvSpPr>
            <p:cNvPr id="22" name="Flowchart: Connector 21">
              <a:extLst>
                <a:ext uri="{FF2B5EF4-FFF2-40B4-BE49-F238E27FC236}">
                  <a16:creationId xmlns:a16="http://schemas.microsoft.com/office/drawing/2014/main" id="{BFB894BF-3D7B-57EE-DC79-D9DB1002B6E5}"/>
                </a:ext>
              </a:extLst>
            </p:cNvPr>
            <p:cNvSpPr>
              <a:spLocks/>
            </p:cNvSpPr>
            <p:nvPr/>
          </p:nvSpPr>
          <p:spPr>
            <a:xfrm rot="5400000">
              <a:off x="311064" y="4241818"/>
              <a:ext cx="731520" cy="727204"/>
            </a:xfrm>
            <a:prstGeom prst="flowChartConnector">
              <a:avLst/>
            </a:prstGeom>
            <a:solidFill>
              <a:srgbClr val="44546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anose="020B0604020202020204" pitchFamily="34" charset="0"/>
                <a:cs typeface="Arial" panose="020B0604020202020204" pitchFamily="34" charset="0"/>
              </a:endParaRPr>
            </a:p>
          </p:txBody>
        </p:sp>
      </p:grpSp>
      <p:pic>
        <p:nvPicPr>
          <p:cNvPr id="16" name="Picture 2" descr="Image result for banks icon">
            <a:extLst>
              <a:ext uri="{FF2B5EF4-FFF2-40B4-BE49-F238E27FC236}">
                <a16:creationId xmlns:a16="http://schemas.microsoft.com/office/drawing/2014/main" id="{9B0CDDEE-E552-5AEE-9588-E1C5644FE91A}"/>
              </a:ext>
            </a:extLst>
          </p:cNvPr>
          <p:cNvPicPr>
            <a:picLocks noChangeAspect="1" noChangeArrowheads="1"/>
          </p:cNvPicPr>
          <p:nvPr/>
        </p:nvPicPr>
        <p:blipFill>
          <a:blip r:embed="rId5" cstate="email">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557119" y="2599347"/>
            <a:ext cx="375449" cy="37544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User - Free social icons">
            <a:extLst>
              <a:ext uri="{FF2B5EF4-FFF2-40B4-BE49-F238E27FC236}">
                <a16:creationId xmlns:a16="http://schemas.microsoft.com/office/drawing/2014/main" id="{DCCA3FAE-1CCA-2BC0-658E-CBCF4E79323A}"/>
              </a:ext>
            </a:extLst>
          </p:cNvPr>
          <p:cNvPicPr>
            <a:picLocks noChangeAspect="1" noChangeArrowheads="1"/>
          </p:cNvPicPr>
          <p:nvPr/>
        </p:nvPicPr>
        <p:blipFill>
          <a:blip r:embed="rId7" cstate="email">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557119" y="1408404"/>
            <a:ext cx="381029" cy="38102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nvest - Free business icons">
            <a:extLst>
              <a:ext uri="{FF2B5EF4-FFF2-40B4-BE49-F238E27FC236}">
                <a16:creationId xmlns:a16="http://schemas.microsoft.com/office/drawing/2014/main" id="{9D9D0EAE-F99D-EF17-EF59-84121731404D}"/>
              </a:ext>
            </a:extLst>
          </p:cNvPr>
          <p:cNvPicPr>
            <a:picLocks noChangeAspect="1" noChangeArrowheads="1"/>
          </p:cNvPicPr>
          <p:nvPr/>
        </p:nvPicPr>
        <p:blipFill>
          <a:blip r:embed="rId9" cstate="email">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545371" y="3652233"/>
            <a:ext cx="416312" cy="416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663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CA06CD6-90CA-4C45-856C-6771339E1E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41173" y="240030"/>
            <a:ext cx="8661654" cy="4663440"/>
          </a:xfrm>
          <a:prstGeom prst="rect">
            <a:avLst/>
          </a:prstGeom>
          <a:solidFill>
            <a:schemeClr val="tx1">
              <a:alpha val="10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0D3854EF-694A-F46F-97F1-C9BD3818FB0F}"/>
              </a:ext>
            </a:extLst>
          </p:cNvPr>
          <p:cNvSpPr>
            <a:spLocks noGrp="1"/>
          </p:cNvSpPr>
          <p:nvPr>
            <p:ph type="title"/>
          </p:nvPr>
        </p:nvSpPr>
        <p:spPr>
          <a:xfrm>
            <a:off x="349324" y="-139229"/>
            <a:ext cx="8273674" cy="1363024"/>
          </a:xfrm>
        </p:spPr>
        <p:txBody>
          <a:bodyPr vert="horz" lIns="91440" tIns="45720" rIns="91440" bIns="45720" rtlCol="0" anchor="ctr">
            <a:normAutofit/>
          </a:bodyPr>
          <a:lstStyle/>
          <a:p>
            <a:pPr algn="ctr" defTabSz="914400"/>
            <a:r>
              <a:rPr lang="en-US" sz="4400" b="1" kern="1200" dirty="0">
                <a:solidFill>
                  <a:schemeClr val="accent2">
                    <a:lumMod val="75000"/>
                  </a:schemeClr>
                </a:solidFill>
                <a:latin typeface="+mj-lt"/>
                <a:ea typeface="+mj-ea"/>
                <a:cs typeface="+mj-cs"/>
              </a:rPr>
              <a:t>Portfolio Sales</a:t>
            </a:r>
          </a:p>
        </p:txBody>
      </p:sp>
      <p:cxnSp>
        <p:nvCxnSpPr>
          <p:cNvPr id="21" name="Straight Connector 20">
            <a:extLst>
              <a:ext uri="{FF2B5EF4-FFF2-40B4-BE49-F238E27FC236}">
                <a16:creationId xmlns:a16="http://schemas.microsoft.com/office/drawing/2014/main" id="{5021601D-2758-4B15-A31C-FDA184C51B3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490722" y="1543050"/>
            <a:ext cx="0" cy="20574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569A5181-8A34-A890-26E6-49EB42119AB7}"/>
              </a:ext>
            </a:extLst>
          </p:cNvPr>
          <p:cNvSpPr>
            <a:spLocks noGrp="1"/>
          </p:cNvSpPr>
          <p:nvPr>
            <p:ph idx="1"/>
          </p:nvPr>
        </p:nvSpPr>
        <p:spPr>
          <a:xfrm>
            <a:off x="154112" y="831921"/>
            <a:ext cx="8532958" cy="3914738"/>
          </a:xfrm>
        </p:spPr>
        <p:txBody>
          <a:bodyPr vert="horz" lIns="91440" tIns="45720" rIns="91440" bIns="45720" rtlCol="0" anchor="b">
            <a:normAutofit/>
          </a:bodyPr>
          <a:lstStyle/>
          <a:p>
            <a:pPr indent="-228600" defTabSz="914400"/>
            <a:r>
              <a:rPr lang="en-US" sz="1800" dirty="0">
                <a:solidFill>
                  <a:schemeClr val="bg2"/>
                </a:solidFill>
              </a:rPr>
              <a:t>A leasing company may have desire to decrease (or exit completely) their exposure to certain credits, industries, asset types, or geographies. Portfolio sale can efficiently accomplish this goal.</a:t>
            </a:r>
          </a:p>
          <a:p>
            <a:pPr indent="-228600" defTabSz="914400"/>
            <a:r>
              <a:rPr lang="en-US" sz="1800" dirty="0">
                <a:solidFill>
                  <a:schemeClr val="bg2"/>
                </a:solidFill>
              </a:rPr>
              <a:t>Leasing companies can use portfolio sales (in bulk or one-off) to manage the earnings stream or risk characteristics of their portfolio.</a:t>
            </a:r>
          </a:p>
          <a:p>
            <a:pPr indent="-228600" defTabSz="914400"/>
            <a:r>
              <a:rPr lang="en-US" sz="1800" dirty="0">
                <a:solidFill>
                  <a:schemeClr val="bg2"/>
                </a:solidFill>
              </a:rPr>
              <a:t>If equipment value increases during term, a new lessor may be able to assume a higher residual and a sale of the lease results in an immediate gain.</a:t>
            </a:r>
          </a:p>
          <a:p>
            <a:pPr indent="-228600" defTabSz="914400"/>
            <a:endParaRPr lang="en-US" sz="1200" dirty="0"/>
          </a:p>
        </p:txBody>
      </p:sp>
      <p:sp>
        <p:nvSpPr>
          <p:cNvPr id="5" name="TextBox 4">
            <a:extLst>
              <a:ext uri="{FF2B5EF4-FFF2-40B4-BE49-F238E27FC236}">
                <a16:creationId xmlns:a16="http://schemas.microsoft.com/office/drawing/2014/main" id="{0E59BF3F-5716-5CF4-970A-0D3D5A0D8524}"/>
              </a:ext>
            </a:extLst>
          </p:cNvPr>
          <p:cNvSpPr txBox="1"/>
          <p:nvPr/>
        </p:nvSpPr>
        <p:spPr>
          <a:xfrm>
            <a:off x="241172" y="940691"/>
            <a:ext cx="8661651" cy="1363024"/>
          </a:xfrm>
          <a:prstGeom prst="rect">
            <a:avLst/>
          </a:prstGeom>
        </p:spPr>
        <p:txBody>
          <a:bodyPr vert="horz" lIns="91440" tIns="45720" rIns="91440" bIns="45720" rtlCol="0">
            <a:normAutofit fontScale="85000" lnSpcReduction="20000"/>
          </a:bodyPr>
          <a:lstStyle/>
          <a:p>
            <a:pPr lvl="0" defTabSz="914400">
              <a:lnSpc>
                <a:spcPct val="90000"/>
              </a:lnSpc>
              <a:spcAft>
                <a:spcPts val="600"/>
              </a:spcAft>
            </a:pPr>
            <a:r>
              <a:rPr lang="en-US" sz="3100" b="1" u="sng" dirty="0">
                <a:solidFill>
                  <a:schemeClr val="accent2">
                    <a:lumMod val="75000"/>
                  </a:schemeClr>
                </a:solidFill>
              </a:rPr>
              <a:t>Example:</a:t>
            </a:r>
            <a:r>
              <a:rPr lang="en-US" sz="3100" b="1" dirty="0">
                <a:solidFill>
                  <a:schemeClr val="accent2">
                    <a:lumMod val="75000"/>
                  </a:schemeClr>
                </a:solidFill>
              </a:rPr>
              <a:t>  </a:t>
            </a:r>
            <a:endParaRPr lang="en-US" sz="3100" b="1" dirty="0">
              <a:solidFill>
                <a:schemeClr val="bg2"/>
              </a:solidFill>
            </a:endParaRPr>
          </a:p>
          <a:p>
            <a:pPr lvl="0" defTabSz="914400">
              <a:lnSpc>
                <a:spcPct val="90000"/>
              </a:lnSpc>
              <a:spcAft>
                <a:spcPts val="600"/>
              </a:spcAft>
            </a:pPr>
            <a:r>
              <a:rPr lang="en-US" sz="3100" dirty="0">
                <a:solidFill>
                  <a:schemeClr val="bg2"/>
                </a:solidFill>
              </a:rPr>
              <a:t>You booked a deal years ago for a weak credit at a high yield. Later, if the client’s credit has improved the deal can be sold for a large gain.</a:t>
            </a:r>
          </a:p>
          <a:p>
            <a:pPr indent="-228600" defTabSz="914400">
              <a:lnSpc>
                <a:spcPct val="90000"/>
              </a:lnSpc>
              <a:spcAft>
                <a:spcPts val="600"/>
              </a:spcAft>
              <a:buFont typeface="Arial" panose="020B0604020202020204" pitchFamily="34" charset="0"/>
              <a:buChar char="•"/>
            </a:pPr>
            <a:endParaRPr lang="en-US" sz="1500" dirty="0"/>
          </a:p>
        </p:txBody>
      </p:sp>
    </p:spTree>
    <p:extLst>
      <p:ext uri="{BB962C8B-B14F-4D97-AF65-F5344CB8AC3E}">
        <p14:creationId xmlns:p14="http://schemas.microsoft.com/office/powerpoint/2010/main" val="3035941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A49FA4B1DF4B4FB3157A1EF559E18F" ma:contentTypeVersion="20" ma:contentTypeDescription="Create a new document." ma:contentTypeScope="" ma:versionID="3c784cc14069a87acfdc2877663cbd8a">
  <xsd:schema xmlns:xsd="http://www.w3.org/2001/XMLSchema" xmlns:xs="http://www.w3.org/2001/XMLSchema" xmlns:p="http://schemas.microsoft.com/office/2006/metadata/properties" xmlns:ns2="c75074cb-a24d-42d9-b253-f37c4aba73e7" xmlns:ns3="d3ab7be1-5101-443e-92f4-2d0f12ad1c07" targetNamespace="http://schemas.microsoft.com/office/2006/metadata/properties" ma:root="true" ma:fieldsID="83995713e9d24d681c78ca06187201e0" ns2:_="" ns3:_="">
    <xsd:import namespace="c75074cb-a24d-42d9-b253-f37c4aba73e7"/>
    <xsd:import namespace="d3ab7be1-5101-443e-92f4-2d0f12ad1c0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AutoKeyPoints" minOccurs="0"/>
                <xsd:element ref="ns2:MediaServiceKeyPoints"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LengthInSeconds" minOccurs="0"/>
                <xsd:element ref="ns3:TaxCatchAll"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5074cb-a24d-42d9-b253-f37c4aba73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883c28c9-2f5a-4ed6-adf4-3efad334633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3ab7be1-5101-443e-92f4-2d0f12ad1c0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c5df7ab3-0134-4c28-98d6-4c98b8efbc83}" ma:internalName="TaxCatchAll" ma:showField="CatchAllData" ma:web="d3ab7be1-5101-443e-92f4-2d0f12ad1c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75074cb-a24d-42d9-b253-f37c4aba73e7">
      <Terms xmlns="http://schemas.microsoft.com/office/infopath/2007/PartnerControls"/>
    </lcf76f155ced4ddcb4097134ff3c332f>
    <TaxCatchAll xmlns="d3ab7be1-5101-443e-92f4-2d0f12ad1c0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ED8C578-D732-4A1E-AAF2-719D68AE3E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5074cb-a24d-42d9-b253-f37c4aba73e7"/>
    <ds:schemaRef ds:uri="d3ab7be1-5101-443e-92f4-2d0f12ad1c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05DDE4F-C490-4065-A30C-6E8C8318459A}">
  <ds:schemaRefs>
    <ds:schemaRef ds:uri="http://schemas.microsoft.com/office/2006/metadata/properties"/>
    <ds:schemaRef ds:uri="c75074cb-a24d-42d9-b253-f37c4aba73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dcmitype/"/>
    <ds:schemaRef ds:uri="d3ab7be1-5101-443e-92f4-2d0f12ad1c07"/>
    <ds:schemaRef ds:uri="http://www.w3.org/XML/1998/namespace"/>
    <ds:schemaRef ds:uri="http://purl.org/dc/terms/"/>
  </ds:schemaRefs>
</ds:datastoreItem>
</file>

<file path=customXml/itemProps3.xml><?xml version="1.0" encoding="utf-8"?>
<ds:datastoreItem xmlns:ds="http://schemas.openxmlformats.org/officeDocument/2006/customXml" ds:itemID="{3337901C-3FAF-4172-A4B4-9C9614C9A31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2605</TotalTime>
  <Words>1146</Words>
  <Application>Microsoft Office PowerPoint</Application>
  <PresentationFormat>On-screen Show (16:9)</PresentationFormat>
  <Paragraphs>112</Paragraphs>
  <Slides>10</Slides>
  <Notes>7</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0</vt:i4>
      </vt:variant>
    </vt:vector>
  </HeadingPairs>
  <TitlesOfParts>
    <vt:vector size="16" baseType="lpstr">
      <vt:lpstr>Arial</vt:lpstr>
      <vt:lpstr>Calibri</vt:lpstr>
      <vt:lpstr>Lato Light</vt:lpstr>
      <vt:lpstr>Arial</vt:lpstr>
      <vt:lpstr>Calibri Light</vt:lpstr>
      <vt:lpstr>Office Theme</vt:lpstr>
      <vt:lpstr>Funding in the Capital Markets</vt:lpstr>
      <vt:lpstr>Funding is the Lifeblood of Equipment Finance Companies</vt:lpstr>
      <vt:lpstr>Three Capital Markets Activities for Equipment Finance Companies </vt:lpstr>
      <vt:lpstr>What’s An Equipment-Backed Securitization?</vt:lpstr>
      <vt:lpstr>The $23 Billion Equipment ABS Market</vt:lpstr>
      <vt:lpstr>Capital Markets Favor Equipment ABS </vt:lpstr>
      <vt:lpstr>Syndication Is Another Important Capital Market Funding Tool </vt:lpstr>
      <vt:lpstr>Example of Syndication :</vt:lpstr>
      <vt:lpstr>Portfolio Sal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QUIPMENT LEASING AND FINANCE: A Dynamic, Global Industry</dc:title>
  <dc:creator>Anneliese DeDiemar</dc:creator>
  <cp:lastModifiedBy>Stephanie Fisher</cp:lastModifiedBy>
  <cp:revision>84</cp:revision>
  <cp:lastPrinted>2022-10-03T16:47:40Z</cp:lastPrinted>
  <dcterms:modified xsi:type="dcterms:W3CDTF">2023-03-10T21:0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A49FA4B1DF4B4FB3157A1EF559E18F</vt:lpwstr>
  </property>
  <property fmtid="{D5CDD505-2E9C-101B-9397-08002B2CF9AE}" pid="3" name="Order">
    <vt:r8>539800</vt:r8>
  </property>
  <property fmtid="{D5CDD505-2E9C-101B-9397-08002B2CF9AE}" pid="4" name="MediaServiceImageTags">
    <vt:lpwstr/>
  </property>
</Properties>
</file>